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70.xml" ContentType="application/vnd.openxmlformats-officedocument.presentationml.tags+xml"/>
  <Override PartName="/ppt/notesSlides/notesSlide18.xml" ContentType="application/vnd.openxmlformats-officedocument.presentationml.notesSlide+xml"/>
  <Override PartName="/ppt/tags/tag71.xml" ContentType="application/vnd.openxmlformats-officedocument.presentationml.tags+xml"/>
  <Override PartName="/ppt/notesSlides/notesSlide19.xml" ContentType="application/vnd.openxmlformats-officedocument.presentationml.notesSlide+xml"/>
  <Override PartName="/ppt/tags/tag72.xml" ContentType="application/vnd.openxmlformats-officedocument.presentationml.tags+xml"/>
  <Override PartName="/ppt/notesSlides/notesSlide20.xml" ContentType="application/vnd.openxmlformats-officedocument.presentationml.notesSlide+xml"/>
  <Override PartName="/ppt/tags/tag73.xml" ContentType="application/vnd.openxmlformats-officedocument.presentationml.tags+xml"/>
  <Override PartName="/ppt/notesSlides/notesSlide2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50" r:id="rId1"/>
    <p:sldMasterId id="2147483764" r:id="rId2"/>
    <p:sldMasterId id="2147483791" r:id="rId3"/>
    <p:sldMasterId id="2147483805" r:id="rId4"/>
  </p:sldMasterIdLst>
  <p:notesMasterIdLst>
    <p:notesMasterId r:id="rId28"/>
  </p:notesMasterIdLst>
  <p:sldIdLst>
    <p:sldId id="385" r:id="rId5"/>
    <p:sldId id="442" r:id="rId6"/>
    <p:sldId id="426" r:id="rId7"/>
    <p:sldId id="429" r:id="rId8"/>
    <p:sldId id="474" r:id="rId9"/>
    <p:sldId id="443" r:id="rId10"/>
    <p:sldId id="446" r:id="rId11"/>
    <p:sldId id="408" r:id="rId12"/>
    <p:sldId id="444" r:id="rId13"/>
    <p:sldId id="411" r:id="rId14"/>
    <p:sldId id="449" r:id="rId15"/>
    <p:sldId id="413" r:id="rId16"/>
    <p:sldId id="415" r:id="rId17"/>
    <p:sldId id="421" r:id="rId18"/>
    <p:sldId id="417" r:id="rId19"/>
    <p:sldId id="445" r:id="rId20"/>
    <p:sldId id="447" r:id="rId21"/>
    <p:sldId id="465" r:id="rId22"/>
    <p:sldId id="472" r:id="rId23"/>
    <p:sldId id="473" r:id="rId24"/>
    <p:sldId id="468" r:id="rId25"/>
    <p:sldId id="448" r:id="rId26"/>
    <p:sldId id="346" r:id="rId27"/>
  </p:sldIdLst>
  <p:sldSz cx="9144000" cy="6858000" type="screen4x3"/>
  <p:notesSz cx="6667500" cy="9904413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  <a:srgbClr val="C3CF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8" autoAdjust="0"/>
    <p:restoredTop sz="89827" autoAdjust="0"/>
  </p:normalViewPr>
  <p:slideViewPr>
    <p:cSldViewPr snapToGrid="0">
      <p:cViewPr varScale="1">
        <p:scale>
          <a:sx n="164" d="100"/>
          <a:sy n="164" d="100"/>
        </p:scale>
        <p:origin x="1800" y="1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44" d="100"/>
          <a:sy n="144" d="100"/>
        </p:scale>
        <p:origin x="6158" y="10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8F1CE0-FE4A-4A4B-8CFD-B82C3A649E10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C05190-F155-4B89-9EA8-3D6B9546B2A3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CDAFE00A-1ADC-4991-B811-C4CFE7388266}" type="parTrans" cxnId="{0F871D56-A927-4424-ACD4-7DB77DC5E788}">
      <dgm:prSet/>
      <dgm:spPr/>
      <dgm:t>
        <a:bodyPr/>
        <a:lstStyle/>
        <a:p>
          <a:endParaRPr lang="en-US"/>
        </a:p>
      </dgm:t>
    </dgm:pt>
    <dgm:pt modelId="{2452DAC4-CCA0-4122-AC80-C37A2B42A36A}" type="sibTrans" cxnId="{0F871D56-A927-4424-ACD4-7DB77DC5E788}">
      <dgm:prSet/>
      <dgm:spPr/>
      <dgm:t>
        <a:bodyPr/>
        <a:lstStyle/>
        <a:p>
          <a:endParaRPr lang="en-US"/>
        </a:p>
      </dgm:t>
    </dgm:pt>
    <dgm:pt modelId="{FD36D4AC-9A62-43A3-BBC0-F778C378012F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3910C7D7-046A-4E91-90CD-B5FE9EC05C47}" type="parTrans" cxnId="{37EAB127-0AE5-4C45-8A94-F7D01A8BAF8E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B6E57055-8239-4FA3-BB6E-DB14B5210C31}" type="sibTrans" cxnId="{37EAB127-0AE5-4C45-8A94-F7D01A8BAF8E}">
      <dgm:prSet/>
      <dgm:spPr/>
      <dgm:t>
        <a:bodyPr/>
        <a:lstStyle/>
        <a:p>
          <a:endParaRPr lang="en-US"/>
        </a:p>
      </dgm:t>
    </dgm:pt>
    <dgm:pt modelId="{FD9F7423-5FC9-4CE4-B20C-8637E8D59EFC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CF76E0D7-EFCE-43F9-A878-9D3DF1FE3009}" type="parTrans" cxnId="{52A9D731-1E40-48BD-AB87-91864ED7C0E2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72F3EDC8-9767-4E0A-A8A0-782498CD01BA}" type="sibTrans" cxnId="{52A9D731-1E40-48BD-AB87-91864ED7C0E2}">
      <dgm:prSet/>
      <dgm:spPr/>
      <dgm:t>
        <a:bodyPr/>
        <a:lstStyle/>
        <a:p>
          <a:endParaRPr lang="en-US"/>
        </a:p>
      </dgm:t>
    </dgm:pt>
    <dgm:pt modelId="{A2FBBF64-ABBC-4AC5-965C-941CDF4FE19F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E7FC04EB-EB9E-496B-ACE5-790DA5A077A2}" type="parTrans" cxnId="{4C56D222-7F32-4181-AE9C-E637141B47CB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EC528405-D607-4BC3-8D97-65138A49746C}" type="sibTrans" cxnId="{4C56D222-7F32-4181-AE9C-E637141B47CB}">
      <dgm:prSet/>
      <dgm:spPr/>
      <dgm:t>
        <a:bodyPr/>
        <a:lstStyle/>
        <a:p>
          <a:endParaRPr lang="en-US"/>
        </a:p>
      </dgm:t>
    </dgm:pt>
    <dgm:pt modelId="{089AE523-F080-4DCB-A7E1-28F3F7671ABB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D1C75392-6858-42DF-A63A-51F007E305AF}" type="parTrans" cxnId="{F213AA25-9ED5-4362-A00F-71203E18027C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38F77F6F-7E5D-4AFA-BE06-B4F57F380C45}" type="sibTrans" cxnId="{F213AA25-9ED5-4362-A00F-71203E18027C}">
      <dgm:prSet/>
      <dgm:spPr/>
      <dgm:t>
        <a:bodyPr/>
        <a:lstStyle/>
        <a:p>
          <a:endParaRPr lang="en-US"/>
        </a:p>
      </dgm:t>
    </dgm:pt>
    <dgm:pt modelId="{D1D7AE4D-7F71-4711-8ECA-8685FBE22A14}" type="pres">
      <dgm:prSet presAssocID="{C08F1CE0-FE4A-4A4B-8CFD-B82C3A649E10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8C19B78-3A74-4314-B3ED-C981F9B189D9}" type="pres">
      <dgm:prSet presAssocID="{7DC05190-F155-4B89-9EA8-3D6B9546B2A3}" presName="centerShape" presStyleLbl="node0" presStyleIdx="0" presStyleCnt="1"/>
      <dgm:spPr/>
      <dgm:t>
        <a:bodyPr/>
        <a:lstStyle/>
        <a:p>
          <a:endParaRPr lang="en-US"/>
        </a:p>
      </dgm:t>
    </dgm:pt>
    <dgm:pt modelId="{EBDAC40D-266E-4D51-94BB-A2D76869AC09}" type="pres">
      <dgm:prSet presAssocID="{3910C7D7-046A-4E91-90CD-B5FE9EC05C47}" presName="Name9" presStyleLbl="parChTrans1D2" presStyleIdx="0" presStyleCnt="4"/>
      <dgm:spPr/>
      <dgm:t>
        <a:bodyPr/>
        <a:lstStyle/>
        <a:p>
          <a:endParaRPr lang="en-US"/>
        </a:p>
      </dgm:t>
    </dgm:pt>
    <dgm:pt modelId="{6E604C8A-EE9E-4A83-A3BB-674A312FC64A}" type="pres">
      <dgm:prSet presAssocID="{3910C7D7-046A-4E91-90CD-B5FE9EC05C47}" presName="connTx" presStyleLbl="parChTrans1D2" presStyleIdx="0" presStyleCnt="4"/>
      <dgm:spPr/>
      <dgm:t>
        <a:bodyPr/>
        <a:lstStyle/>
        <a:p>
          <a:endParaRPr lang="en-US"/>
        </a:p>
      </dgm:t>
    </dgm:pt>
    <dgm:pt modelId="{0231D62D-3D03-40E2-84B6-D76C8704AB46}" type="pres">
      <dgm:prSet presAssocID="{FD36D4AC-9A62-43A3-BBC0-F778C378012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E8C572-8CF2-4899-883F-95ACC5848792}" type="pres">
      <dgm:prSet presAssocID="{CF76E0D7-EFCE-43F9-A878-9D3DF1FE3009}" presName="Name9" presStyleLbl="parChTrans1D2" presStyleIdx="1" presStyleCnt="4"/>
      <dgm:spPr/>
      <dgm:t>
        <a:bodyPr/>
        <a:lstStyle/>
        <a:p>
          <a:endParaRPr lang="en-US"/>
        </a:p>
      </dgm:t>
    </dgm:pt>
    <dgm:pt modelId="{85AB0ECE-A8F9-407B-9899-AC8C8D19C58E}" type="pres">
      <dgm:prSet presAssocID="{CF76E0D7-EFCE-43F9-A878-9D3DF1FE3009}" presName="connTx" presStyleLbl="parChTrans1D2" presStyleIdx="1" presStyleCnt="4"/>
      <dgm:spPr/>
      <dgm:t>
        <a:bodyPr/>
        <a:lstStyle/>
        <a:p>
          <a:endParaRPr lang="en-US"/>
        </a:p>
      </dgm:t>
    </dgm:pt>
    <dgm:pt modelId="{95B11404-81D4-4F27-8ABA-CBB0552EB57F}" type="pres">
      <dgm:prSet presAssocID="{FD9F7423-5FC9-4CE4-B20C-8637E8D59EFC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5107EB-F64F-4188-9070-316B1F195C9F}" type="pres">
      <dgm:prSet presAssocID="{E7FC04EB-EB9E-496B-ACE5-790DA5A077A2}" presName="Name9" presStyleLbl="parChTrans1D2" presStyleIdx="2" presStyleCnt="4"/>
      <dgm:spPr/>
      <dgm:t>
        <a:bodyPr/>
        <a:lstStyle/>
        <a:p>
          <a:endParaRPr lang="en-US"/>
        </a:p>
      </dgm:t>
    </dgm:pt>
    <dgm:pt modelId="{26D17601-259F-4C5D-9EAF-A5C2938E696E}" type="pres">
      <dgm:prSet presAssocID="{E7FC04EB-EB9E-496B-ACE5-790DA5A077A2}" presName="connTx" presStyleLbl="parChTrans1D2" presStyleIdx="2" presStyleCnt="4"/>
      <dgm:spPr/>
      <dgm:t>
        <a:bodyPr/>
        <a:lstStyle/>
        <a:p>
          <a:endParaRPr lang="en-US"/>
        </a:p>
      </dgm:t>
    </dgm:pt>
    <dgm:pt modelId="{A7C486CA-74BF-4FDA-87B9-60FB2844657E}" type="pres">
      <dgm:prSet presAssocID="{A2FBBF64-ABBC-4AC5-965C-941CDF4FE19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BC6BBA-D70F-49CA-B48A-0BAAFCEE36F4}" type="pres">
      <dgm:prSet presAssocID="{D1C75392-6858-42DF-A63A-51F007E305AF}" presName="Name9" presStyleLbl="parChTrans1D2" presStyleIdx="3" presStyleCnt="4"/>
      <dgm:spPr/>
      <dgm:t>
        <a:bodyPr/>
        <a:lstStyle/>
        <a:p>
          <a:endParaRPr lang="en-US"/>
        </a:p>
      </dgm:t>
    </dgm:pt>
    <dgm:pt modelId="{72A79A29-934C-4E67-B778-3B5C2805FD57}" type="pres">
      <dgm:prSet presAssocID="{D1C75392-6858-42DF-A63A-51F007E305AF}" presName="connTx" presStyleLbl="parChTrans1D2" presStyleIdx="3" presStyleCnt="4"/>
      <dgm:spPr/>
      <dgm:t>
        <a:bodyPr/>
        <a:lstStyle/>
        <a:p>
          <a:endParaRPr lang="en-US"/>
        </a:p>
      </dgm:t>
    </dgm:pt>
    <dgm:pt modelId="{17299F73-2E71-42D8-9019-06536B247055}" type="pres">
      <dgm:prSet presAssocID="{089AE523-F080-4DCB-A7E1-28F3F7671ABB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EDD08A-9081-4F0E-9E07-6DD918B97A1D}" type="presOf" srcId="{089AE523-F080-4DCB-A7E1-28F3F7671ABB}" destId="{17299F73-2E71-42D8-9019-06536B247055}" srcOrd="0" destOrd="0" presId="urn:microsoft.com/office/officeart/2005/8/layout/radial1"/>
    <dgm:cxn modelId="{A04F6762-9B76-419B-95C1-C01E4571D714}" type="presOf" srcId="{FD36D4AC-9A62-43A3-BBC0-F778C378012F}" destId="{0231D62D-3D03-40E2-84B6-D76C8704AB46}" srcOrd="0" destOrd="0" presId="urn:microsoft.com/office/officeart/2005/8/layout/radial1"/>
    <dgm:cxn modelId="{F0E69389-884E-48BD-8FE9-5CEBD48A3B36}" type="presOf" srcId="{C08F1CE0-FE4A-4A4B-8CFD-B82C3A649E10}" destId="{D1D7AE4D-7F71-4711-8ECA-8685FBE22A14}" srcOrd="0" destOrd="0" presId="urn:microsoft.com/office/officeart/2005/8/layout/radial1"/>
    <dgm:cxn modelId="{E5E8440D-60FC-46B1-82CB-E96CA038D9D8}" type="presOf" srcId="{D1C75392-6858-42DF-A63A-51F007E305AF}" destId="{64BC6BBA-D70F-49CA-B48A-0BAAFCEE36F4}" srcOrd="0" destOrd="0" presId="urn:microsoft.com/office/officeart/2005/8/layout/radial1"/>
    <dgm:cxn modelId="{37EAB127-0AE5-4C45-8A94-F7D01A8BAF8E}" srcId="{7DC05190-F155-4B89-9EA8-3D6B9546B2A3}" destId="{FD36D4AC-9A62-43A3-BBC0-F778C378012F}" srcOrd="0" destOrd="0" parTransId="{3910C7D7-046A-4E91-90CD-B5FE9EC05C47}" sibTransId="{B6E57055-8239-4FA3-BB6E-DB14B5210C31}"/>
    <dgm:cxn modelId="{71F3398F-EDFB-4988-B5FB-F21C87CA005F}" type="presOf" srcId="{7DC05190-F155-4B89-9EA8-3D6B9546B2A3}" destId="{88C19B78-3A74-4314-B3ED-C981F9B189D9}" srcOrd="0" destOrd="0" presId="urn:microsoft.com/office/officeart/2005/8/layout/radial1"/>
    <dgm:cxn modelId="{1B9E6610-CF01-4C41-B9E4-5474EF846ACD}" type="presOf" srcId="{D1C75392-6858-42DF-A63A-51F007E305AF}" destId="{72A79A29-934C-4E67-B778-3B5C2805FD57}" srcOrd="1" destOrd="0" presId="urn:microsoft.com/office/officeart/2005/8/layout/radial1"/>
    <dgm:cxn modelId="{D4CBE643-A7E3-4601-9CED-6379BBFADA63}" type="presOf" srcId="{3910C7D7-046A-4E91-90CD-B5FE9EC05C47}" destId="{EBDAC40D-266E-4D51-94BB-A2D76869AC09}" srcOrd="0" destOrd="0" presId="urn:microsoft.com/office/officeart/2005/8/layout/radial1"/>
    <dgm:cxn modelId="{A7B1B714-43D6-4E2D-BB39-B79E83038DC0}" type="presOf" srcId="{CF76E0D7-EFCE-43F9-A878-9D3DF1FE3009}" destId="{85AB0ECE-A8F9-407B-9899-AC8C8D19C58E}" srcOrd="1" destOrd="0" presId="urn:microsoft.com/office/officeart/2005/8/layout/radial1"/>
    <dgm:cxn modelId="{4C1267F4-736D-47F9-978B-F60C8842D72E}" type="presOf" srcId="{E7FC04EB-EB9E-496B-ACE5-790DA5A077A2}" destId="{AC5107EB-F64F-4188-9070-316B1F195C9F}" srcOrd="0" destOrd="0" presId="urn:microsoft.com/office/officeart/2005/8/layout/radial1"/>
    <dgm:cxn modelId="{0F871D56-A927-4424-ACD4-7DB77DC5E788}" srcId="{C08F1CE0-FE4A-4A4B-8CFD-B82C3A649E10}" destId="{7DC05190-F155-4B89-9EA8-3D6B9546B2A3}" srcOrd="0" destOrd="0" parTransId="{CDAFE00A-1ADC-4991-B811-C4CFE7388266}" sibTransId="{2452DAC4-CCA0-4122-AC80-C37A2B42A36A}"/>
    <dgm:cxn modelId="{354180B5-B96F-4ACA-934C-B5B7232F5037}" type="presOf" srcId="{CF76E0D7-EFCE-43F9-A878-9D3DF1FE3009}" destId="{FEE8C572-8CF2-4899-883F-95ACC5848792}" srcOrd="0" destOrd="0" presId="urn:microsoft.com/office/officeart/2005/8/layout/radial1"/>
    <dgm:cxn modelId="{3A509F8A-DAB7-47B9-9859-BEC8C61B66C8}" type="presOf" srcId="{FD9F7423-5FC9-4CE4-B20C-8637E8D59EFC}" destId="{95B11404-81D4-4F27-8ABA-CBB0552EB57F}" srcOrd="0" destOrd="0" presId="urn:microsoft.com/office/officeart/2005/8/layout/radial1"/>
    <dgm:cxn modelId="{1199D53B-AD54-4631-8FF1-7B974E48E5CE}" type="presOf" srcId="{3910C7D7-046A-4E91-90CD-B5FE9EC05C47}" destId="{6E604C8A-EE9E-4A83-A3BB-674A312FC64A}" srcOrd="1" destOrd="0" presId="urn:microsoft.com/office/officeart/2005/8/layout/radial1"/>
    <dgm:cxn modelId="{52A9D731-1E40-48BD-AB87-91864ED7C0E2}" srcId="{7DC05190-F155-4B89-9EA8-3D6B9546B2A3}" destId="{FD9F7423-5FC9-4CE4-B20C-8637E8D59EFC}" srcOrd="1" destOrd="0" parTransId="{CF76E0D7-EFCE-43F9-A878-9D3DF1FE3009}" sibTransId="{72F3EDC8-9767-4E0A-A8A0-782498CD01BA}"/>
    <dgm:cxn modelId="{F213AA25-9ED5-4362-A00F-71203E18027C}" srcId="{7DC05190-F155-4B89-9EA8-3D6B9546B2A3}" destId="{089AE523-F080-4DCB-A7E1-28F3F7671ABB}" srcOrd="3" destOrd="0" parTransId="{D1C75392-6858-42DF-A63A-51F007E305AF}" sibTransId="{38F77F6F-7E5D-4AFA-BE06-B4F57F380C45}"/>
    <dgm:cxn modelId="{F7E09625-627B-40BC-B246-298D47963E14}" type="presOf" srcId="{A2FBBF64-ABBC-4AC5-965C-941CDF4FE19F}" destId="{A7C486CA-74BF-4FDA-87B9-60FB2844657E}" srcOrd="0" destOrd="0" presId="urn:microsoft.com/office/officeart/2005/8/layout/radial1"/>
    <dgm:cxn modelId="{A9EB7B5B-1B56-4BEB-AC69-C2D4D9914834}" type="presOf" srcId="{E7FC04EB-EB9E-496B-ACE5-790DA5A077A2}" destId="{26D17601-259F-4C5D-9EAF-A5C2938E696E}" srcOrd="1" destOrd="0" presId="urn:microsoft.com/office/officeart/2005/8/layout/radial1"/>
    <dgm:cxn modelId="{4C56D222-7F32-4181-AE9C-E637141B47CB}" srcId="{7DC05190-F155-4B89-9EA8-3D6B9546B2A3}" destId="{A2FBBF64-ABBC-4AC5-965C-941CDF4FE19F}" srcOrd="2" destOrd="0" parTransId="{E7FC04EB-EB9E-496B-ACE5-790DA5A077A2}" sibTransId="{EC528405-D607-4BC3-8D97-65138A49746C}"/>
    <dgm:cxn modelId="{2994C290-CA66-4C79-A968-C445818C8BD6}" type="presParOf" srcId="{D1D7AE4D-7F71-4711-8ECA-8685FBE22A14}" destId="{88C19B78-3A74-4314-B3ED-C981F9B189D9}" srcOrd="0" destOrd="0" presId="urn:microsoft.com/office/officeart/2005/8/layout/radial1"/>
    <dgm:cxn modelId="{E32F0000-751C-49AE-8722-F92DEBD38A1B}" type="presParOf" srcId="{D1D7AE4D-7F71-4711-8ECA-8685FBE22A14}" destId="{EBDAC40D-266E-4D51-94BB-A2D76869AC09}" srcOrd="1" destOrd="0" presId="urn:microsoft.com/office/officeart/2005/8/layout/radial1"/>
    <dgm:cxn modelId="{F82D3B70-37AD-4692-A015-CB50E45CF34D}" type="presParOf" srcId="{EBDAC40D-266E-4D51-94BB-A2D76869AC09}" destId="{6E604C8A-EE9E-4A83-A3BB-674A312FC64A}" srcOrd="0" destOrd="0" presId="urn:microsoft.com/office/officeart/2005/8/layout/radial1"/>
    <dgm:cxn modelId="{98FEC8F1-0A0D-4930-BB0C-CF0F834988FE}" type="presParOf" srcId="{D1D7AE4D-7F71-4711-8ECA-8685FBE22A14}" destId="{0231D62D-3D03-40E2-84B6-D76C8704AB46}" srcOrd="2" destOrd="0" presId="urn:microsoft.com/office/officeart/2005/8/layout/radial1"/>
    <dgm:cxn modelId="{487EED43-9332-4355-B192-C27E20BFAC6E}" type="presParOf" srcId="{D1D7AE4D-7F71-4711-8ECA-8685FBE22A14}" destId="{FEE8C572-8CF2-4899-883F-95ACC5848792}" srcOrd="3" destOrd="0" presId="urn:microsoft.com/office/officeart/2005/8/layout/radial1"/>
    <dgm:cxn modelId="{D1D987A6-4AF4-406A-8AB6-7AE9A5A39827}" type="presParOf" srcId="{FEE8C572-8CF2-4899-883F-95ACC5848792}" destId="{85AB0ECE-A8F9-407B-9899-AC8C8D19C58E}" srcOrd="0" destOrd="0" presId="urn:microsoft.com/office/officeart/2005/8/layout/radial1"/>
    <dgm:cxn modelId="{602FCC5A-562E-4DB3-A3AA-0F0BA9E947F4}" type="presParOf" srcId="{D1D7AE4D-7F71-4711-8ECA-8685FBE22A14}" destId="{95B11404-81D4-4F27-8ABA-CBB0552EB57F}" srcOrd="4" destOrd="0" presId="urn:microsoft.com/office/officeart/2005/8/layout/radial1"/>
    <dgm:cxn modelId="{3D864EBF-2278-49AC-B316-B20CB379E5DA}" type="presParOf" srcId="{D1D7AE4D-7F71-4711-8ECA-8685FBE22A14}" destId="{AC5107EB-F64F-4188-9070-316B1F195C9F}" srcOrd="5" destOrd="0" presId="urn:microsoft.com/office/officeart/2005/8/layout/radial1"/>
    <dgm:cxn modelId="{7305C8B6-200C-4DD4-AC1E-1EF2AA8AF8D4}" type="presParOf" srcId="{AC5107EB-F64F-4188-9070-316B1F195C9F}" destId="{26D17601-259F-4C5D-9EAF-A5C2938E696E}" srcOrd="0" destOrd="0" presId="urn:microsoft.com/office/officeart/2005/8/layout/radial1"/>
    <dgm:cxn modelId="{185E05CE-CBBD-4E85-AD9B-718BD07D1836}" type="presParOf" srcId="{D1D7AE4D-7F71-4711-8ECA-8685FBE22A14}" destId="{A7C486CA-74BF-4FDA-87B9-60FB2844657E}" srcOrd="6" destOrd="0" presId="urn:microsoft.com/office/officeart/2005/8/layout/radial1"/>
    <dgm:cxn modelId="{EA859C25-C9BA-4472-9768-2F49F4A5F2B0}" type="presParOf" srcId="{D1D7AE4D-7F71-4711-8ECA-8685FBE22A14}" destId="{64BC6BBA-D70F-49CA-B48A-0BAAFCEE36F4}" srcOrd="7" destOrd="0" presId="urn:microsoft.com/office/officeart/2005/8/layout/radial1"/>
    <dgm:cxn modelId="{902E5C76-FCD7-46B2-8300-23932CF689D1}" type="presParOf" srcId="{64BC6BBA-D70F-49CA-B48A-0BAAFCEE36F4}" destId="{72A79A29-934C-4E67-B778-3B5C2805FD57}" srcOrd="0" destOrd="0" presId="urn:microsoft.com/office/officeart/2005/8/layout/radial1"/>
    <dgm:cxn modelId="{99C7A7D1-E182-4D13-BA65-3013C59EECCA}" type="presParOf" srcId="{D1D7AE4D-7F71-4711-8ECA-8685FBE22A14}" destId="{17299F73-2E71-42D8-9019-06536B247055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2D4BBBE-BA11-48EC-A65F-B89427A19CB6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D4A24A2-9CDA-4A85-9563-8E2D0247A690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50578C5E-67D0-47A1-A99D-D4C26F46C091}" type="parTrans" cxnId="{682436E6-3B45-4609-82EC-357EF7D6040A}">
      <dgm:prSet/>
      <dgm:spPr/>
      <dgm:t>
        <a:bodyPr/>
        <a:lstStyle/>
        <a:p>
          <a:endParaRPr lang="en-US"/>
        </a:p>
      </dgm:t>
    </dgm:pt>
    <dgm:pt modelId="{AF6E627F-C681-4F8F-BF64-7315743FFA92}" type="sibTrans" cxnId="{682436E6-3B45-4609-82EC-357EF7D6040A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1D2108A4-F60A-4F7B-98F1-71D5CD785443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0E1D7442-E7C1-4EF6-8FFC-CD670A5AF766}" type="parTrans" cxnId="{3B3B7080-38CC-4820-9EFF-00762A73A259}">
      <dgm:prSet/>
      <dgm:spPr/>
      <dgm:t>
        <a:bodyPr/>
        <a:lstStyle/>
        <a:p>
          <a:endParaRPr lang="en-US"/>
        </a:p>
      </dgm:t>
    </dgm:pt>
    <dgm:pt modelId="{F5DB52A1-E383-47C1-88EE-CC3FBC729661}" type="sibTrans" cxnId="{3B3B7080-38CC-4820-9EFF-00762A73A259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975EE0A7-6415-4A80-9A1E-D7D3E61C73AE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304461DC-6248-4652-9DD2-27D6DE45714E}" type="parTrans" cxnId="{3BDE2DC4-D673-4A7E-8191-BFF505B490A2}">
      <dgm:prSet/>
      <dgm:spPr/>
      <dgm:t>
        <a:bodyPr/>
        <a:lstStyle/>
        <a:p>
          <a:endParaRPr lang="en-US"/>
        </a:p>
      </dgm:t>
    </dgm:pt>
    <dgm:pt modelId="{758E377E-29AE-497B-8424-4ABA3CE76D27}" type="sibTrans" cxnId="{3BDE2DC4-D673-4A7E-8191-BFF505B490A2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8EEECCB8-07BD-4197-89EF-6CD86CECAC35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093A42E8-BC0B-4FF0-8066-01EA8D116F86}" type="parTrans" cxnId="{D7ECB5B7-1B5E-4DF8-B103-E0792D494F04}">
      <dgm:prSet/>
      <dgm:spPr/>
      <dgm:t>
        <a:bodyPr/>
        <a:lstStyle/>
        <a:p>
          <a:endParaRPr lang="en-US"/>
        </a:p>
      </dgm:t>
    </dgm:pt>
    <dgm:pt modelId="{AEC7327C-2918-43B3-A02A-53296E93954A}" type="sibTrans" cxnId="{D7ECB5B7-1B5E-4DF8-B103-E0792D494F04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D677E3A4-A44B-4EC8-971B-60C6848C2C87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529CF6E4-5C4B-42F4-8935-1018BE2DBB28}" type="parTrans" cxnId="{38943E56-1237-4B86-A04C-BDAEF9FD9B01}">
      <dgm:prSet/>
      <dgm:spPr/>
      <dgm:t>
        <a:bodyPr/>
        <a:lstStyle/>
        <a:p>
          <a:endParaRPr lang="en-US"/>
        </a:p>
      </dgm:t>
    </dgm:pt>
    <dgm:pt modelId="{C9B08A88-C4CB-4A35-82BA-D6E2FDDC4E37}" type="sibTrans" cxnId="{38943E56-1237-4B86-A04C-BDAEF9FD9B01}">
      <dgm:prSet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4A913C75-DE60-4028-94D8-87E7E7D2D675}" type="pres">
      <dgm:prSet presAssocID="{52D4BBBE-BA11-48EC-A65F-B89427A19CB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BC5324F-B794-43E1-BE05-AB51758533D6}" type="pres">
      <dgm:prSet presAssocID="{4D4A24A2-9CDA-4A85-9563-8E2D0247A690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B1B51C-3173-4A68-8E04-C965E4ABD599}" type="pres">
      <dgm:prSet presAssocID="{AF6E627F-C681-4F8F-BF64-7315743FFA92}" presName="sibTrans" presStyleLbl="sibTrans2D1" presStyleIdx="0" presStyleCnt="5"/>
      <dgm:spPr/>
      <dgm:t>
        <a:bodyPr/>
        <a:lstStyle/>
        <a:p>
          <a:endParaRPr lang="en-US"/>
        </a:p>
      </dgm:t>
    </dgm:pt>
    <dgm:pt modelId="{F352255C-6A25-4BD2-8DCB-46C0D302066B}" type="pres">
      <dgm:prSet presAssocID="{AF6E627F-C681-4F8F-BF64-7315743FFA92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54F9B375-BD47-42AF-87C9-C4C7D9E48AB6}" type="pres">
      <dgm:prSet presAssocID="{1D2108A4-F60A-4F7B-98F1-71D5CD785443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53932E-CCF5-4FFF-A27A-4D2695A55600}" type="pres">
      <dgm:prSet presAssocID="{F5DB52A1-E383-47C1-88EE-CC3FBC729661}" presName="sibTrans" presStyleLbl="sibTrans2D1" presStyleIdx="1" presStyleCnt="5"/>
      <dgm:spPr/>
      <dgm:t>
        <a:bodyPr/>
        <a:lstStyle/>
        <a:p>
          <a:endParaRPr lang="en-US"/>
        </a:p>
      </dgm:t>
    </dgm:pt>
    <dgm:pt modelId="{1194A303-43DC-47BF-960C-D2D8DE4F381C}" type="pres">
      <dgm:prSet presAssocID="{F5DB52A1-E383-47C1-88EE-CC3FBC729661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9CA894F3-C17B-48E1-A41A-066AF0A60A2F}" type="pres">
      <dgm:prSet presAssocID="{975EE0A7-6415-4A80-9A1E-D7D3E61C73AE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975E75-152D-4B23-8EFF-B3CE770343E6}" type="pres">
      <dgm:prSet presAssocID="{758E377E-29AE-497B-8424-4ABA3CE76D27}" presName="sibTrans" presStyleLbl="sibTrans2D1" presStyleIdx="2" presStyleCnt="5"/>
      <dgm:spPr/>
      <dgm:t>
        <a:bodyPr/>
        <a:lstStyle/>
        <a:p>
          <a:endParaRPr lang="en-US"/>
        </a:p>
      </dgm:t>
    </dgm:pt>
    <dgm:pt modelId="{5400A96E-C3E3-4F5F-93E2-DCE56514B1B2}" type="pres">
      <dgm:prSet presAssocID="{758E377E-29AE-497B-8424-4ABA3CE76D27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1AB70C0F-DB1F-40EE-807C-46F60211DA4B}" type="pres">
      <dgm:prSet presAssocID="{8EEECCB8-07BD-4197-89EF-6CD86CECAC35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7A16E6-06CA-4092-AE3F-D043A50F29F1}" type="pres">
      <dgm:prSet presAssocID="{AEC7327C-2918-43B3-A02A-53296E93954A}" presName="sibTrans" presStyleLbl="sibTrans2D1" presStyleIdx="3" presStyleCnt="5"/>
      <dgm:spPr/>
      <dgm:t>
        <a:bodyPr/>
        <a:lstStyle/>
        <a:p>
          <a:endParaRPr lang="en-US"/>
        </a:p>
      </dgm:t>
    </dgm:pt>
    <dgm:pt modelId="{724D37A0-B173-44B6-8AD5-D90ACA5AB066}" type="pres">
      <dgm:prSet presAssocID="{AEC7327C-2918-43B3-A02A-53296E93954A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9AFCA0B3-4720-49CD-A430-4C90F7790854}" type="pres">
      <dgm:prSet presAssocID="{D677E3A4-A44B-4EC8-971B-60C6848C2C87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18ECD0-780E-42DC-BB5D-9A52344DF8E8}" type="pres">
      <dgm:prSet presAssocID="{C9B08A88-C4CB-4A35-82BA-D6E2FDDC4E37}" presName="sibTrans" presStyleLbl="sibTrans2D1" presStyleIdx="4" presStyleCnt="5"/>
      <dgm:spPr/>
      <dgm:t>
        <a:bodyPr/>
        <a:lstStyle/>
        <a:p>
          <a:endParaRPr lang="en-US"/>
        </a:p>
      </dgm:t>
    </dgm:pt>
    <dgm:pt modelId="{33CFFEB3-03A2-42AA-8FD9-E00A825E02FB}" type="pres">
      <dgm:prSet presAssocID="{C9B08A88-C4CB-4A35-82BA-D6E2FDDC4E37}" presName="connectorText" presStyleLbl="sibTrans2D1" presStyleIdx="4" presStyleCnt="5"/>
      <dgm:spPr/>
      <dgm:t>
        <a:bodyPr/>
        <a:lstStyle/>
        <a:p>
          <a:endParaRPr lang="en-US"/>
        </a:p>
      </dgm:t>
    </dgm:pt>
  </dgm:ptLst>
  <dgm:cxnLst>
    <dgm:cxn modelId="{53F9EFBD-8398-4975-B7DB-A3DCCE113595}" type="presOf" srcId="{758E377E-29AE-497B-8424-4ABA3CE76D27}" destId="{0C975E75-152D-4B23-8EFF-B3CE770343E6}" srcOrd="0" destOrd="0" presId="urn:microsoft.com/office/officeart/2005/8/layout/cycle2"/>
    <dgm:cxn modelId="{E71B202A-B9A4-4305-96E9-283F0693B756}" type="presOf" srcId="{8EEECCB8-07BD-4197-89EF-6CD86CECAC35}" destId="{1AB70C0F-DB1F-40EE-807C-46F60211DA4B}" srcOrd="0" destOrd="0" presId="urn:microsoft.com/office/officeart/2005/8/layout/cycle2"/>
    <dgm:cxn modelId="{3BDE2DC4-D673-4A7E-8191-BFF505B490A2}" srcId="{52D4BBBE-BA11-48EC-A65F-B89427A19CB6}" destId="{975EE0A7-6415-4A80-9A1E-D7D3E61C73AE}" srcOrd="2" destOrd="0" parTransId="{304461DC-6248-4652-9DD2-27D6DE45714E}" sibTransId="{758E377E-29AE-497B-8424-4ABA3CE76D27}"/>
    <dgm:cxn modelId="{960A3396-ABB6-474F-A5E3-91778C4D3379}" type="presOf" srcId="{F5DB52A1-E383-47C1-88EE-CC3FBC729661}" destId="{1194A303-43DC-47BF-960C-D2D8DE4F381C}" srcOrd="1" destOrd="0" presId="urn:microsoft.com/office/officeart/2005/8/layout/cycle2"/>
    <dgm:cxn modelId="{65A96705-1339-4D59-B2E4-051A2C20DBAB}" type="presOf" srcId="{C9B08A88-C4CB-4A35-82BA-D6E2FDDC4E37}" destId="{FD18ECD0-780E-42DC-BB5D-9A52344DF8E8}" srcOrd="0" destOrd="0" presId="urn:microsoft.com/office/officeart/2005/8/layout/cycle2"/>
    <dgm:cxn modelId="{3B3B7080-38CC-4820-9EFF-00762A73A259}" srcId="{52D4BBBE-BA11-48EC-A65F-B89427A19CB6}" destId="{1D2108A4-F60A-4F7B-98F1-71D5CD785443}" srcOrd="1" destOrd="0" parTransId="{0E1D7442-E7C1-4EF6-8FFC-CD670A5AF766}" sibTransId="{F5DB52A1-E383-47C1-88EE-CC3FBC729661}"/>
    <dgm:cxn modelId="{B95A62FE-2FC3-4107-80C8-6BF139089A77}" type="presOf" srcId="{C9B08A88-C4CB-4A35-82BA-D6E2FDDC4E37}" destId="{33CFFEB3-03A2-42AA-8FD9-E00A825E02FB}" srcOrd="1" destOrd="0" presId="urn:microsoft.com/office/officeart/2005/8/layout/cycle2"/>
    <dgm:cxn modelId="{ECE209F2-2BEE-4323-B878-AA8FA05FF4FE}" type="presOf" srcId="{AEC7327C-2918-43B3-A02A-53296E93954A}" destId="{C97A16E6-06CA-4092-AE3F-D043A50F29F1}" srcOrd="0" destOrd="0" presId="urn:microsoft.com/office/officeart/2005/8/layout/cycle2"/>
    <dgm:cxn modelId="{8111D245-5BAC-4015-A46F-69A8996E1B6A}" type="presOf" srcId="{AF6E627F-C681-4F8F-BF64-7315743FFA92}" destId="{F352255C-6A25-4BD2-8DCB-46C0D302066B}" srcOrd="1" destOrd="0" presId="urn:microsoft.com/office/officeart/2005/8/layout/cycle2"/>
    <dgm:cxn modelId="{C028F6D2-2662-41F5-9231-2A4A2CA0541C}" type="presOf" srcId="{52D4BBBE-BA11-48EC-A65F-B89427A19CB6}" destId="{4A913C75-DE60-4028-94D8-87E7E7D2D675}" srcOrd="0" destOrd="0" presId="urn:microsoft.com/office/officeart/2005/8/layout/cycle2"/>
    <dgm:cxn modelId="{B7CD1B74-9D15-45B6-8743-5F0E8E5DC6FA}" type="presOf" srcId="{F5DB52A1-E383-47C1-88EE-CC3FBC729661}" destId="{9953932E-CCF5-4FFF-A27A-4D2695A55600}" srcOrd="0" destOrd="0" presId="urn:microsoft.com/office/officeart/2005/8/layout/cycle2"/>
    <dgm:cxn modelId="{38943E56-1237-4B86-A04C-BDAEF9FD9B01}" srcId="{52D4BBBE-BA11-48EC-A65F-B89427A19CB6}" destId="{D677E3A4-A44B-4EC8-971B-60C6848C2C87}" srcOrd="4" destOrd="0" parTransId="{529CF6E4-5C4B-42F4-8935-1018BE2DBB28}" sibTransId="{C9B08A88-C4CB-4A35-82BA-D6E2FDDC4E37}"/>
    <dgm:cxn modelId="{F4617B6F-ADE3-45D5-840C-08FA9D03F7EC}" type="presOf" srcId="{758E377E-29AE-497B-8424-4ABA3CE76D27}" destId="{5400A96E-C3E3-4F5F-93E2-DCE56514B1B2}" srcOrd="1" destOrd="0" presId="urn:microsoft.com/office/officeart/2005/8/layout/cycle2"/>
    <dgm:cxn modelId="{7A904683-3DFF-42B0-9782-88F8CDEC034A}" type="presOf" srcId="{AF6E627F-C681-4F8F-BF64-7315743FFA92}" destId="{E9B1B51C-3173-4A68-8E04-C965E4ABD599}" srcOrd="0" destOrd="0" presId="urn:microsoft.com/office/officeart/2005/8/layout/cycle2"/>
    <dgm:cxn modelId="{57C81CBD-40FF-4A32-9420-A7133B058E5F}" type="presOf" srcId="{975EE0A7-6415-4A80-9A1E-D7D3E61C73AE}" destId="{9CA894F3-C17B-48E1-A41A-066AF0A60A2F}" srcOrd="0" destOrd="0" presId="urn:microsoft.com/office/officeart/2005/8/layout/cycle2"/>
    <dgm:cxn modelId="{02B10449-FF15-4CF8-B676-EE60EE41E3CA}" type="presOf" srcId="{D677E3A4-A44B-4EC8-971B-60C6848C2C87}" destId="{9AFCA0B3-4720-49CD-A430-4C90F7790854}" srcOrd="0" destOrd="0" presId="urn:microsoft.com/office/officeart/2005/8/layout/cycle2"/>
    <dgm:cxn modelId="{C9864F10-CAE7-405F-8520-142883FBDEB6}" type="presOf" srcId="{1D2108A4-F60A-4F7B-98F1-71D5CD785443}" destId="{54F9B375-BD47-42AF-87C9-C4C7D9E48AB6}" srcOrd="0" destOrd="0" presId="urn:microsoft.com/office/officeart/2005/8/layout/cycle2"/>
    <dgm:cxn modelId="{D7ECB5B7-1B5E-4DF8-B103-E0792D494F04}" srcId="{52D4BBBE-BA11-48EC-A65F-B89427A19CB6}" destId="{8EEECCB8-07BD-4197-89EF-6CD86CECAC35}" srcOrd="3" destOrd="0" parTransId="{093A42E8-BC0B-4FF0-8066-01EA8D116F86}" sibTransId="{AEC7327C-2918-43B3-A02A-53296E93954A}"/>
    <dgm:cxn modelId="{682436E6-3B45-4609-82EC-357EF7D6040A}" srcId="{52D4BBBE-BA11-48EC-A65F-B89427A19CB6}" destId="{4D4A24A2-9CDA-4A85-9563-8E2D0247A690}" srcOrd="0" destOrd="0" parTransId="{50578C5E-67D0-47A1-A99D-D4C26F46C091}" sibTransId="{AF6E627F-C681-4F8F-BF64-7315743FFA92}"/>
    <dgm:cxn modelId="{EFA217BB-0BDC-4C70-A050-C8DA190ECB11}" type="presOf" srcId="{4D4A24A2-9CDA-4A85-9563-8E2D0247A690}" destId="{ABC5324F-B794-43E1-BE05-AB51758533D6}" srcOrd="0" destOrd="0" presId="urn:microsoft.com/office/officeart/2005/8/layout/cycle2"/>
    <dgm:cxn modelId="{786EF613-A6F2-48A9-B3A4-1065AF13C50A}" type="presOf" srcId="{AEC7327C-2918-43B3-A02A-53296E93954A}" destId="{724D37A0-B173-44B6-8AD5-D90ACA5AB066}" srcOrd="1" destOrd="0" presId="urn:microsoft.com/office/officeart/2005/8/layout/cycle2"/>
    <dgm:cxn modelId="{E631E5B0-1101-45D8-8CAE-266DAE898316}" type="presParOf" srcId="{4A913C75-DE60-4028-94D8-87E7E7D2D675}" destId="{ABC5324F-B794-43E1-BE05-AB51758533D6}" srcOrd="0" destOrd="0" presId="urn:microsoft.com/office/officeart/2005/8/layout/cycle2"/>
    <dgm:cxn modelId="{CB1385CA-DD6E-4206-B3CD-E8F057953105}" type="presParOf" srcId="{4A913C75-DE60-4028-94D8-87E7E7D2D675}" destId="{E9B1B51C-3173-4A68-8E04-C965E4ABD599}" srcOrd="1" destOrd="0" presId="urn:microsoft.com/office/officeart/2005/8/layout/cycle2"/>
    <dgm:cxn modelId="{59E302E7-421E-4740-9616-DB841153E0F2}" type="presParOf" srcId="{E9B1B51C-3173-4A68-8E04-C965E4ABD599}" destId="{F352255C-6A25-4BD2-8DCB-46C0D302066B}" srcOrd="0" destOrd="0" presId="urn:microsoft.com/office/officeart/2005/8/layout/cycle2"/>
    <dgm:cxn modelId="{FC5BAF91-30A5-4563-B8EE-9E7D5AAF604C}" type="presParOf" srcId="{4A913C75-DE60-4028-94D8-87E7E7D2D675}" destId="{54F9B375-BD47-42AF-87C9-C4C7D9E48AB6}" srcOrd="2" destOrd="0" presId="urn:microsoft.com/office/officeart/2005/8/layout/cycle2"/>
    <dgm:cxn modelId="{0C8552DB-A147-461C-A8C0-602C72FF4ACD}" type="presParOf" srcId="{4A913C75-DE60-4028-94D8-87E7E7D2D675}" destId="{9953932E-CCF5-4FFF-A27A-4D2695A55600}" srcOrd="3" destOrd="0" presId="urn:microsoft.com/office/officeart/2005/8/layout/cycle2"/>
    <dgm:cxn modelId="{94B11287-DFBC-4629-9A25-71875EACEC91}" type="presParOf" srcId="{9953932E-CCF5-4FFF-A27A-4D2695A55600}" destId="{1194A303-43DC-47BF-960C-D2D8DE4F381C}" srcOrd="0" destOrd="0" presId="urn:microsoft.com/office/officeart/2005/8/layout/cycle2"/>
    <dgm:cxn modelId="{73153C62-2EF1-4DC4-90EF-325CBC015320}" type="presParOf" srcId="{4A913C75-DE60-4028-94D8-87E7E7D2D675}" destId="{9CA894F3-C17B-48E1-A41A-066AF0A60A2F}" srcOrd="4" destOrd="0" presId="urn:microsoft.com/office/officeart/2005/8/layout/cycle2"/>
    <dgm:cxn modelId="{68E6F193-06D1-4B55-A526-CEC3FE032654}" type="presParOf" srcId="{4A913C75-DE60-4028-94D8-87E7E7D2D675}" destId="{0C975E75-152D-4B23-8EFF-B3CE770343E6}" srcOrd="5" destOrd="0" presId="urn:microsoft.com/office/officeart/2005/8/layout/cycle2"/>
    <dgm:cxn modelId="{2232D160-C8B5-4AB9-9F09-B6A64A3B29BE}" type="presParOf" srcId="{0C975E75-152D-4B23-8EFF-B3CE770343E6}" destId="{5400A96E-C3E3-4F5F-93E2-DCE56514B1B2}" srcOrd="0" destOrd="0" presId="urn:microsoft.com/office/officeart/2005/8/layout/cycle2"/>
    <dgm:cxn modelId="{579CFB86-DBFD-4A59-AA41-8E4E105F1640}" type="presParOf" srcId="{4A913C75-DE60-4028-94D8-87E7E7D2D675}" destId="{1AB70C0F-DB1F-40EE-807C-46F60211DA4B}" srcOrd="6" destOrd="0" presId="urn:microsoft.com/office/officeart/2005/8/layout/cycle2"/>
    <dgm:cxn modelId="{BD75664E-0011-4E82-9FE9-984FC0415357}" type="presParOf" srcId="{4A913C75-DE60-4028-94D8-87E7E7D2D675}" destId="{C97A16E6-06CA-4092-AE3F-D043A50F29F1}" srcOrd="7" destOrd="0" presId="urn:microsoft.com/office/officeart/2005/8/layout/cycle2"/>
    <dgm:cxn modelId="{09B54DC2-43E4-40C4-939F-F7055361330C}" type="presParOf" srcId="{C97A16E6-06CA-4092-AE3F-D043A50F29F1}" destId="{724D37A0-B173-44B6-8AD5-D90ACA5AB066}" srcOrd="0" destOrd="0" presId="urn:microsoft.com/office/officeart/2005/8/layout/cycle2"/>
    <dgm:cxn modelId="{497F781F-4950-407F-8299-D37CBF0D7254}" type="presParOf" srcId="{4A913C75-DE60-4028-94D8-87E7E7D2D675}" destId="{9AFCA0B3-4720-49CD-A430-4C90F7790854}" srcOrd="8" destOrd="0" presId="urn:microsoft.com/office/officeart/2005/8/layout/cycle2"/>
    <dgm:cxn modelId="{4498E1D2-6C1E-47E0-A63E-F884CB700B48}" type="presParOf" srcId="{4A913C75-DE60-4028-94D8-87E7E7D2D675}" destId="{FD18ECD0-780E-42DC-BB5D-9A52344DF8E8}" srcOrd="9" destOrd="0" presId="urn:microsoft.com/office/officeart/2005/8/layout/cycle2"/>
    <dgm:cxn modelId="{441973DC-0EDC-4E2B-81FF-C8AD2A80455A}" type="presParOf" srcId="{FD18ECD0-780E-42DC-BB5D-9A52344DF8E8}" destId="{33CFFEB3-03A2-42AA-8FD9-E00A825E02FB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0C8D6EC-AC7E-45DF-8B0E-8F71B863B11E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A5230C-E633-4CE3-91BC-3DD96E522E2D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003C4F91-BD6F-4294-AE56-B2F96293B490}" type="parTrans" cxnId="{E711C9E7-9C26-4565-92AF-6EAF3E8A4FED}">
      <dgm:prSet/>
      <dgm:spPr/>
      <dgm:t>
        <a:bodyPr/>
        <a:lstStyle/>
        <a:p>
          <a:endParaRPr lang="en-US"/>
        </a:p>
      </dgm:t>
    </dgm:pt>
    <dgm:pt modelId="{4CCD2E4F-A19B-4112-9D14-DABFF22E0266}" type="sibTrans" cxnId="{E711C9E7-9C26-4565-92AF-6EAF3E8A4FED}">
      <dgm:prSet/>
      <dgm:spPr/>
      <dgm:t>
        <a:bodyPr/>
        <a:lstStyle/>
        <a:p>
          <a:endParaRPr lang="en-US"/>
        </a:p>
      </dgm:t>
    </dgm:pt>
    <dgm:pt modelId="{C35F9CEE-81FF-49D1-B1BE-08C70460A143}" type="asst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504AB95B-CEC3-437E-9E71-6CA64F1C8B46}" type="parTrans" cxnId="{CF9A6347-4954-41A3-87F1-E1D22F1BD49E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F21A4BF6-C0C7-48C3-B344-0DD35763765A}" type="sibTrans" cxnId="{CF9A6347-4954-41A3-87F1-E1D22F1BD49E}">
      <dgm:prSet/>
      <dgm:spPr/>
      <dgm:t>
        <a:bodyPr/>
        <a:lstStyle/>
        <a:p>
          <a:endParaRPr lang="en-US"/>
        </a:p>
      </dgm:t>
    </dgm:pt>
    <dgm:pt modelId="{4CC5264A-FF3F-48D5-A4EB-DB756217CEBC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E356E0C6-9A9E-47CC-81EA-541E3B2780E9}" type="parTrans" cxnId="{678778AA-506F-4AE4-B3E0-027C6103D2D2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833C1689-7467-4FC4-BA4C-28480045C360}" type="sibTrans" cxnId="{678778AA-506F-4AE4-B3E0-027C6103D2D2}">
      <dgm:prSet/>
      <dgm:spPr/>
      <dgm:t>
        <a:bodyPr/>
        <a:lstStyle/>
        <a:p>
          <a:endParaRPr lang="en-US"/>
        </a:p>
      </dgm:t>
    </dgm:pt>
    <dgm:pt modelId="{A6272FC4-99BE-4027-83D9-73594BA9A68F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C96C8C0A-849D-47FC-87D7-CFF7479CF1FE}" type="parTrans" cxnId="{B078B9E9-07D8-4DEB-A3DE-B67D4F4043E3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62D72C22-674A-4C10-A416-870887060986}" type="sibTrans" cxnId="{B078B9E9-07D8-4DEB-A3DE-B67D4F4043E3}">
      <dgm:prSet/>
      <dgm:spPr/>
      <dgm:t>
        <a:bodyPr/>
        <a:lstStyle/>
        <a:p>
          <a:endParaRPr lang="en-US"/>
        </a:p>
      </dgm:t>
    </dgm:pt>
    <dgm:pt modelId="{65EBDD0F-2C75-4D26-B7DB-8172308E0325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029784BA-E8E5-4835-AF8E-C56D1407453F}" type="parTrans" cxnId="{C064A29E-96F5-4ABC-8184-5A1650CBE96E}">
      <dgm:prSet/>
      <dgm:spPr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5F94D36C-1359-4527-92AE-D3198B8A6B52}" type="sibTrans" cxnId="{C064A29E-96F5-4ABC-8184-5A1650CBE96E}">
      <dgm:prSet/>
      <dgm:spPr/>
      <dgm:t>
        <a:bodyPr/>
        <a:lstStyle/>
        <a:p>
          <a:endParaRPr lang="en-US"/>
        </a:p>
      </dgm:t>
    </dgm:pt>
    <dgm:pt modelId="{B3739721-3824-4BB1-85E0-63DFB9458156}" type="pres">
      <dgm:prSet presAssocID="{70C8D6EC-AC7E-45DF-8B0E-8F71B863B11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4BF3A9C-D0F8-438B-B5C9-AE82C433AA59}" type="pres">
      <dgm:prSet presAssocID="{92A5230C-E633-4CE3-91BC-3DD96E522E2D}" presName="hierRoot1" presStyleCnt="0">
        <dgm:presLayoutVars>
          <dgm:hierBranch val="init"/>
        </dgm:presLayoutVars>
      </dgm:prSet>
      <dgm:spPr/>
    </dgm:pt>
    <dgm:pt modelId="{E41E21C8-F1E8-4ADF-84FE-BF11FF1B120F}" type="pres">
      <dgm:prSet presAssocID="{92A5230C-E633-4CE3-91BC-3DD96E522E2D}" presName="rootComposite1" presStyleCnt="0"/>
      <dgm:spPr/>
    </dgm:pt>
    <dgm:pt modelId="{85FD6D3D-70A0-4B34-8D86-2FEF91C61DBB}" type="pres">
      <dgm:prSet presAssocID="{92A5230C-E633-4CE3-91BC-3DD96E522E2D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A915870-DF1C-4E5A-95D5-359ECDC9BBAE}" type="pres">
      <dgm:prSet presAssocID="{92A5230C-E633-4CE3-91BC-3DD96E522E2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3DDFBEA2-B70F-4F60-BFB5-158C34CEADBC}" type="pres">
      <dgm:prSet presAssocID="{92A5230C-E633-4CE3-91BC-3DD96E522E2D}" presName="hierChild2" presStyleCnt="0"/>
      <dgm:spPr/>
    </dgm:pt>
    <dgm:pt modelId="{92904C10-CF94-45FD-8084-2FBFF127DF5C}" type="pres">
      <dgm:prSet presAssocID="{E356E0C6-9A9E-47CC-81EA-541E3B2780E9}" presName="Name37" presStyleLbl="parChTrans1D2" presStyleIdx="0" presStyleCnt="4"/>
      <dgm:spPr/>
      <dgm:t>
        <a:bodyPr/>
        <a:lstStyle/>
        <a:p>
          <a:endParaRPr lang="en-US"/>
        </a:p>
      </dgm:t>
    </dgm:pt>
    <dgm:pt modelId="{19CBFF7F-60C7-45B8-BD3B-C8EE26652D52}" type="pres">
      <dgm:prSet presAssocID="{4CC5264A-FF3F-48D5-A4EB-DB756217CEBC}" presName="hierRoot2" presStyleCnt="0">
        <dgm:presLayoutVars>
          <dgm:hierBranch val="init"/>
        </dgm:presLayoutVars>
      </dgm:prSet>
      <dgm:spPr/>
    </dgm:pt>
    <dgm:pt modelId="{1E16E06B-ADD5-45DF-947C-A1CC2FB46558}" type="pres">
      <dgm:prSet presAssocID="{4CC5264A-FF3F-48D5-A4EB-DB756217CEBC}" presName="rootComposite" presStyleCnt="0"/>
      <dgm:spPr/>
    </dgm:pt>
    <dgm:pt modelId="{F2567F00-5FC3-4542-9778-09553A9D9369}" type="pres">
      <dgm:prSet presAssocID="{4CC5264A-FF3F-48D5-A4EB-DB756217CEBC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D31D6F-73AB-4C3D-9949-82B69E71E06F}" type="pres">
      <dgm:prSet presAssocID="{4CC5264A-FF3F-48D5-A4EB-DB756217CEBC}" presName="rootConnector" presStyleLbl="node2" presStyleIdx="0" presStyleCnt="3"/>
      <dgm:spPr/>
      <dgm:t>
        <a:bodyPr/>
        <a:lstStyle/>
        <a:p>
          <a:endParaRPr lang="en-US"/>
        </a:p>
      </dgm:t>
    </dgm:pt>
    <dgm:pt modelId="{4F48D3C2-B223-4612-898B-1709BBBB20E0}" type="pres">
      <dgm:prSet presAssocID="{4CC5264A-FF3F-48D5-A4EB-DB756217CEBC}" presName="hierChild4" presStyleCnt="0"/>
      <dgm:spPr/>
    </dgm:pt>
    <dgm:pt modelId="{F9735A82-32D2-4508-A6CF-BBF367312F59}" type="pres">
      <dgm:prSet presAssocID="{4CC5264A-FF3F-48D5-A4EB-DB756217CEBC}" presName="hierChild5" presStyleCnt="0"/>
      <dgm:spPr/>
    </dgm:pt>
    <dgm:pt modelId="{6FCE9997-4FB3-4469-90D4-CD19026A95D5}" type="pres">
      <dgm:prSet presAssocID="{C96C8C0A-849D-47FC-87D7-CFF7479CF1FE}" presName="Name37" presStyleLbl="parChTrans1D2" presStyleIdx="1" presStyleCnt="4"/>
      <dgm:spPr/>
      <dgm:t>
        <a:bodyPr/>
        <a:lstStyle/>
        <a:p>
          <a:endParaRPr lang="en-US"/>
        </a:p>
      </dgm:t>
    </dgm:pt>
    <dgm:pt modelId="{7490F970-BE68-4AA4-8F14-9E8C81DA0AA7}" type="pres">
      <dgm:prSet presAssocID="{A6272FC4-99BE-4027-83D9-73594BA9A68F}" presName="hierRoot2" presStyleCnt="0">
        <dgm:presLayoutVars>
          <dgm:hierBranch val="init"/>
        </dgm:presLayoutVars>
      </dgm:prSet>
      <dgm:spPr/>
    </dgm:pt>
    <dgm:pt modelId="{21C9458E-4F0A-4D0E-AB94-9B4A9F92AB4F}" type="pres">
      <dgm:prSet presAssocID="{A6272FC4-99BE-4027-83D9-73594BA9A68F}" presName="rootComposite" presStyleCnt="0"/>
      <dgm:spPr/>
    </dgm:pt>
    <dgm:pt modelId="{AD4D9342-B030-4636-8BA4-32EB95AF1FA6}" type="pres">
      <dgm:prSet presAssocID="{A6272FC4-99BE-4027-83D9-73594BA9A68F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EB5691D-F994-4B6C-B358-2D7791243326}" type="pres">
      <dgm:prSet presAssocID="{A6272FC4-99BE-4027-83D9-73594BA9A68F}" presName="rootConnector" presStyleLbl="node2" presStyleIdx="1" presStyleCnt="3"/>
      <dgm:spPr/>
      <dgm:t>
        <a:bodyPr/>
        <a:lstStyle/>
        <a:p>
          <a:endParaRPr lang="en-US"/>
        </a:p>
      </dgm:t>
    </dgm:pt>
    <dgm:pt modelId="{15B70198-1039-4D5E-9334-E7E12184319E}" type="pres">
      <dgm:prSet presAssocID="{A6272FC4-99BE-4027-83D9-73594BA9A68F}" presName="hierChild4" presStyleCnt="0"/>
      <dgm:spPr/>
    </dgm:pt>
    <dgm:pt modelId="{A8ED20B5-9ACC-4A36-B1AD-49257A84FEA7}" type="pres">
      <dgm:prSet presAssocID="{A6272FC4-99BE-4027-83D9-73594BA9A68F}" presName="hierChild5" presStyleCnt="0"/>
      <dgm:spPr/>
    </dgm:pt>
    <dgm:pt modelId="{C4D810E2-5433-4DA4-AD13-175AB12F9909}" type="pres">
      <dgm:prSet presAssocID="{029784BA-E8E5-4835-AF8E-C56D1407453F}" presName="Name37" presStyleLbl="parChTrans1D2" presStyleIdx="2" presStyleCnt="4"/>
      <dgm:spPr/>
      <dgm:t>
        <a:bodyPr/>
        <a:lstStyle/>
        <a:p>
          <a:endParaRPr lang="en-US"/>
        </a:p>
      </dgm:t>
    </dgm:pt>
    <dgm:pt modelId="{AB22BF8B-FDCF-46DF-911C-4171BD545386}" type="pres">
      <dgm:prSet presAssocID="{65EBDD0F-2C75-4D26-B7DB-8172308E0325}" presName="hierRoot2" presStyleCnt="0">
        <dgm:presLayoutVars>
          <dgm:hierBranch val="init"/>
        </dgm:presLayoutVars>
      </dgm:prSet>
      <dgm:spPr/>
    </dgm:pt>
    <dgm:pt modelId="{FA38B1AE-C627-4E4F-8A07-050AAE125542}" type="pres">
      <dgm:prSet presAssocID="{65EBDD0F-2C75-4D26-B7DB-8172308E0325}" presName="rootComposite" presStyleCnt="0"/>
      <dgm:spPr/>
    </dgm:pt>
    <dgm:pt modelId="{4C3097B5-E874-42A5-8824-C75C3F8A7CC2}" type="pres">
      <dgm:prSet presAssocID="{65EBDD0F-2C75-4D26-B7DB-8172308E0325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F05D12-99F6-4391-BCE2-075FD5E7C637}" type="pres">
      <dgm:prSet presAssocID="{65EBDD0F-2C75-4D26-B7DB-8172308E0325}" presName="rootConnector" presStyleLbl="node2" presStyleIdx="2" presStyleCnt="3"/>
      <dgm:spPr/>
      <dgm:t>
        <a:bodyPr/>
        <a:lstStyle/>
        <a:p>
          <a:endParaRPr lang="en-US"/>
        </a:p>
      </dgm:t>
    </dgm:pt>
    <dgm:pt modelId="{1684E056-05B1-4A98-997A-E0F7F5B9CE7F}" type="pres">
      <dgm:prSet presAssocID="{65EBDD0F-2C75-4D26-B7DB-8172308E0325}" presName="hierChild4" presStyleCnt="0"/>
      <dgm:spPr/>
    </dgm:pt>
    <dgm:pt modelId="{3DB87C1C-6532-42DE-83FB-AF3F39396FA7}" type="pres">
      <dgm:prSet presAssocID="{65EBDD0F-2C75-4D26-B7DB-8172308E0325}" presName="hierChild5" presStyleCnt="0"/>
      <dgm:spPr/>
    </dgm:pt>
    <dgm:pt modelId="{8A7771CC-9DD5-4770-BE6A-046B20FBFAA1}" type="pres">
      <dgm:prSet presAssocID="{92A5230C-E633-4CE3-91BC-3DD96E522E2D}" presName="hierChild3" presStyleCnt="0"/>
      <dgm:spPr/>
    </dgm:pt>
    <dgm:pt modelId="{44FA1420-435A-4DDB-A090-14A71637EDF9}" type="pres">
      <dgm:prSet presAssocID="{504AB95B-CEC3-437E-9E71-6CA64F1C8B46}" presName="Name111" presStyleLbl="parChTrans1D2" presStyleIdx="3" presStyleCnt="4"/>
      <dgm:spPr/>
      <dgm:t>
        <a:bodyPr/>
        <a:lstStyle/>
        <a:p>
          <a:endParaRPr lang="en-US"/>
        </a:p>
      </dgm:t>
    </dgm:pt>
    <dgm:pt modelId="{84077F2F-08D9-401F-8F4D-BD980A553689}" type="pres">
      <dgm:prSet presAssocID="{C35F9CEE-81FF-49D1-B1BE-08C70460A143}" presName="hierRoot3" presStyleCnt="0">
        <dgm:presLayoutVars>
          <dgm:hierBranch val="init"/>
        </dgm:presLayoutVars>
      </dgm:prSet>
      <dgm:spPr/>
    </dgm:pt>
    <dgm:pt modelId="{DCD779A3-0540-4A49-BE3A-BF01E3B93578}" type="pres">
      <dgm:prSet presAssocID="{C35F9CEE-81FF-49D1-B1BE-08C70460A143}" presName="rootComposite3" presStyleCnt="0"/>
      <dgm:spPr/>
    </dgm:pt>
    <dgm:pt modelId="{B9717555-59F5-42CD-8ABB-5E8B673A5F39}" type="pres">
      <dgm:prSet presAssocID="{C35F9CEE-81FF-49D1-B1BE-08C70460A143}" presName="rootText3" presStyleLbl="asst1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BB83BBC-E387-44EA-83E7-C036FD5D27CD}" type="pres">
      <dgm:prSet presAssocID="{C35F9CEE-81FF-49D1-B1BE-08C70460A143}" presName="rootConnector3" presStyleLbl="asst1" presStyleIdx="0" presStyleCnt="1"/>
      <dgm:spPr/>
      <dgm:t>
        <a:bodyPr/>
        <a:lstStyle/>
        <a:p>
          <a:endParaRPr lang="en-US"/>
        </a:p>
      </dgm:t>
    </dgm:pt>
    <dgm:pt modelId="{E71EC211-6115-4029-9C77-05BED90F778E}" type="pres">
      <dgm:prSet presAssocID="{C35F9CEE-81FF-49D1-B1BE-08C70460A143}" presName="hierChild6" presStyleCnt="0"/>
      <dgm:spPr/>
    </dgm:pt>
    <dgm:pt modelId="{E48312C7-A421-4B7E-B657-C6EA1272D2E7}" type="pres">
      <dgm:prSet presAssocID="{C35F9CEE-81FF-49D1-B1BE-08C70460A143}" presName="hierChild7" presStyleCnt="0"/>
      <dgm:spPr/>
    </dgm:pt>
  </dgm:ptLst>
  <dgm:cxnLst>
    <dgm:cxn modelId="{FF716C71-4F09-4FB2-B542-EE939C9C84F3}" type="presOf" srcId="{E356E0C6-9A9E-47CC-81EA-541E3B2780E9}" destId="{92904C10-CF94-45FD-8084-2FBFF127DF5C}" srcOrd="0" destOrd="0" presId="urn:microsoft.com/office/officeart/2005/8/layout/orgChart1"/>
    <dgm:cxn modelId="{DF908250-2AAA-48AD-B438-F3D2753E8F30}" type="presOf" srcId="{70C8D6EC-AC7E-45DF-8B0E-8F71B863B11E}" destId="{B3739721-3824-4BB1-85E0-63DFB9458156}" srcOrd="0" destOrd="0" presId="urn:microsoft.com/office/officeart/2005/8/layout/orgChart1"/>
    <dgm:cxn modelId="{B078B9E9-07D8-4DEB-A3DE-B67D4F4043E3}" srcId="{92A5230C-E633-4CE3-91BC-3DD96E522E2D}" destId="{A6272FC4-99BE-4027-83D9-73594BA9A68F}" srcOrd="2" destOrd="0" parTransId="{C96C8C0A-849D-47FC-87D7-CFF7479CF1FE}" sibTransId="{62D72C22-674A-4C10-A416-870887060986}"/>
    <dgm:cxn modelId="{8642D77E-4C30-45EC-8986-CA449E5C0BE0}" type="presOf" srcId="{4CC5264A-FF3F-48D5-A4EB-DB756217CEBC}" destId="{F2567F00-5FC3-4542-9778-09553A9D9369}" srcOrd="0" destOrd="0" presId="urn:microsoft.com/office/officeart/2005/8/layout/orgChart1"/>
    <dgm:cxn modelId="{3F848ABA-E493-46AA-907B-570918F8A354}" type="presOf" srcId="{65EBDD0F-2C75-4D26-B7DB-8172308E0325}" destId="{4C3097B5-E874-42A5-8824-C75C3F8A7CC2}" srcOrd="0" destOrd="0" presId="urn:microsoft.com/office/officeart/2005/8/layout/orgChart1"/>
    <dgm:cxn modelId="{6A247E3F-2498-4BDB-AAF4-E42E056336C8}" type="presOf" srcId="{92A5230C-E633-4CE3-91BC-3DD96E522E2D}" destId="{85FD6D3D-70A0-4B34-8D86-2FEF91C61DBB}" srcOrd="0" destOrd="0" presId="urn:microsoft.com/office/officeart/2005/8/layout/orgChart1"/>
    <dgm:cxn modelId="{108DFEB0-F577-4EE6-B79C-5044E458AC6C}" type="presOf" srcId="{504AB95B-CEC3-437E-9E71-6CA64F1C8B46}" destId="{44FA1420-435A-4DDB-A090-14A71637EDF9}" srcOrd="0" destOrd="0" presId="urn:microsoft.com/office/officeart/2005/8/layout/orgChart1"/>
    <dgm:cxn modelId="{9EC195CF-11ED-42D3-A49C-2F187F1729DF}" type="presOf" srcId="{C96C8C0A-849D-47FC-87D7-CFF7479CF1FE}" destId="{6FCE9997-4FB3-4469-90D4-CD19026A95D5}" srcOrd="0" destOrd="0" presId="urn:microsoft.com/office/officeart/2005/8/layout/orgChart1"/>
    <dgm:cxn modelId="{E711C9E7-9C26-4565-92AF-6EAF3E8A4FED}" srcId="{70C8D6EC-AC7E-45DF-8B0E-8F71B863B11E}" destId="{92A5230C-E633-4CE3-91BC-3DD96E522E2D}" srcOrd="0" destOrd="0" parTransId="{003C4F91-BD6F-4294-AE56-B2F96293B490}" sibTransId="{4CCD2E4F-A19B-4112-9D14-DABFF22E0266}"/>
    <dgm:cxn modelId="{C064A29E-96F5-4ABC-8184-5A1650CBE96E}" srcId="{92A5230C-E633-4CE3-91BC-3DD96E522E2D}" destId="{65EBDD0F-2C75-4D26-B7DB-8172308E0325}" srcOrd="3" destOrd="0" parTransId="{029784BA-E8E5-4835-AF8E-C56D1407453F}" sibTransId="{5F94D36C-1359-4527-92AE-D3198B8A6B52}"/>
    <dgm:cxn modelId="{5E22814D-8397-45C5-BC5B-69E3CFE717F3}" type="presOf" srcId="{029784BA-E8E5-4835-AF8E-C56D1407453F}" destId="{C4D810E2-5433-4DA4-AD13-175AB12F9909}" srcOrd="0" destOrd="0" presId="urn:microsoft.com/office/officeart/2005/8/layout/orgChart1"/>
    <dgm:cxn modelId="{46349A84-B6C7-4007-A6FF-50FF6746A98C}" type="presOf" srcId="{65EBDD0F-2C75-4D26-B7DB-8172308E0325}" destId="{FAF05D12-99F6-4391-BCE2-075FD5E7C637}" srcOrd="1" destOrd="0" presId="urn:microsoft.com/office/officeart/2005/8/layout/orgChart1"/>
    <dgm:cxn modelId="{CF9A6347-4954-41A3-87F1-E1D22F1BD49E}" srcId="{92A5230C-E633-4CE3-91BC-3DD96E522E2D}" destId="{C35F9CEE-81FF-49D1-B1BE-08C70460A143}" srcOrd="0" destOrd="0" parTransId="{504AB95B-CEC3-437E-9E71-6CA64F1C8B46}" sibTransId="{F21A4BF6-C0C7-48C3-B344-0DD35763765A}"/>
    <dgm:cxn modelId="{5D7CEC26-A6CF-4AF4-8B7D-205DCB00C5F9}" type="presOf" srcId="{92A5230C-E633-4CE3-91BC-3DD96E522E2D}" destId="{8A915870-DF1C-4E5A-95D5-359ECDC9BBAE}" srcOrd="1" destOrd="0" presId="urn:microsoft.com/office/officeart/2005/8/layout/orgChart1"/>
    <dgm:cxn modelId="{C8FD4584-35F3-43B6-AF0E-A2336974CB5B}" type="presOf" srcId="{A6272FC4-99BE-4027-83D9-73594BA9A68F}" destId="{CEB5691D-F994-4B6C-B358-2D7791243326}" srcOrd="1" destOrd="0" presId="urn:microsoft.com/office/officeart/2005/8/layout/orgChart1"/>
    <dgm:cxn modelId="{79EEA8DC-FDF5-41B6-AAAF-8ABE9B6FF8FB}" type="presOf" srcId="{4CC5264A-FF3F-48D5-A4EB-DB756217CEBC}" destId="{D7D31D6F-73AB-4C3D-9949-82B69E71E06F}" srcOrd="1" destOrd="0" presId="urn:microsoft.com/office/officeart/2005/8/layout/orgChart1"/>
    <dgm:cxn modelId="{17DE8812-15F0-4BB5-8ABC-C9723DDE2177}" type="presOf" srcId="{A6272FC4-99BE-4027-83D9-73594BA9A68F}" destId="{AD4D9342-B030-4636-8BA4-32EB95AF1FA6}" srcOrd="0" destOrd="0" presId="urn:microsoft.com/office/officeart/2005/8/layout/orgChart1"/>
    <dgm:cxn modelId="{678778AA-506F-4AE4-B3E0-027C6103D2D2}" srcId="{92A5230C-E633-4CE3-91BC-3DD96E522E2D}" destId="{4CC5264A-FF3F-48D5-A4EB-DB756217CEBC}" srcOrd="1" destOrd="0" parTransId="{E356E0C6-9A9E-47CC-81EA-541E3B2780E9}" sibTransId="{833C1689-7467-4FC4-BA4C-28480045C360}"/>
    <dgm:cxn modelId="{598B8656-430D-49B9-B51F-2303E44A600C}" type="presOf" srcId="{C35F9CEE-81FF-49D1-B1BE-08C70460A143}" destId="{B9717555-59F5-42CD-8ABB-5E8B673A5F39}" srcOrd="0" destOrd="0" presId="urn:microsoft.com/office/officeart/2005/8/layout/orgChart1"/>
    <dgm:cxn modelId="{1118ADA3-9877-47DF-8244-263713AEA3DD}" type="presOf" srcId="{C35F9CEE-81FF-49D1-B1BE-08C70460A143}" destId="{9BB83BBC-E387-44EA-83E7-C036FD5D27CD}" srcOrd="1" destOrd="0" presId="urn:microsoft.com/office/officeart/2005/8/layout/orgChart1"/>
    <dgm:cxn modelId="{6E595AF9-9DCA-4909-AD97-44ECB7B8C3D1}" type="presParOf" srcId="{B3739721-3824-4BB1-85E0-63DFB9458156}" destId="{B4BF3A9C-D0F8-438B-B5C9-AE82C433AA59}" srcOrd="0" destOrd="0" presId="urn:microsoft.com/office/officeart/2005/8/layout/orgChart1"/>
    <dgm:cxn modelId="{AA393B5B-968E-47B3-85A2-1EDFFC6360B2}" type="presParOf" srcId="{B4BF3A9C-D0F8-438B-B5C9-AE82C433AA59}" destId="{E41E21C8-F1E8-4ADF-84FE-BF11FF1B120F}" srcOrd="0" destOrd="0" presId="urn:microsoft.com/office/officeart/2005/8/layout/orgChart1"/>
    <dgm:cxn modelId="{98197C9E-F240-4266-A53C-0B63DBD04C6E}" type="presParOf" srcId="{E41E21C8-F1E8-4ADF-84FE-BF11FF1B120F}" destId="{85FD6D3D-70A0-4B34-8D86-2FEF91C61DBB}" srcOrd="0" destOrd="0" presId="urn:microsoft.com/office/officeart/2005/8/layout/orgChart1"/>
    <dgm:cxn modelId="{AE317558-B9CF-4913-90F6-FAC77191C709}" type="presParOf" srcId="{E41E21C8-F1E8-4ADF-84FE-BF11FF1B120F}" destId="{8A915870-DF1C-4E5A-95D5-359ECDC9BBAE}" srcOrd="1" destOrd="0" presId="urn:microsoft.com/office/officeart/2005/8/layout/orgChart1"/>
    <dgm:cxn modelId="{5192D62D-BFEA-4817-889B-16CEDC023E59}" type="presParOf" srcId="{B4BF3A9C-D0F8-438B-B5C9-AE82C433AA59}" destId="{3DDFBEA2-B70F-4F60-BFB5-158C34CEADBC}" srcOrd="1" destOrd="0" presId="urn:microsoft.com/office/officeart/2005/8/layout/orgChart1"/>
    <dgm:cxn modelId="{F0DA0807-34E5-4DB6-8A05-D6679AD71FA7}" type="presParOf" srcId="{3DDFBEA2-B70F-4F60-BFB5-158C34CEADBC}" destId="{92904C10-CF94-45FD-8084-2FBFF127DF5C}" srcOrd="0" destOrd="0" presId="urn:microsoft.com/office/officeart/2005/8/layout/orgChart1"/>
    <dgm:cxn modelId="{DDB1935E-C906-4A63-B7EC-3F16A4D748CF}" type="presParOf" srcId="{3DDFBEA2-B70F-4F60-BFB5-158C34CEADBC}" destId="{19CBFF7F-60C7-45B8-BD3B-C8EE26652D52}" srcOrd="1" destOrd="0" presId="urn:microsoft.com/office/officeart/2005/8/layout/orgChart1"/>
    <dgm:cxn modelId="{0BF0AA66-AEAA-40B9-A03A-B63461674F9F}" type="presParOf" srcId="{19CBFF7F-60C7-45B8-BD3B-C8EE26652D52}" destId="{1E16E06B-ADD5-45DF-947C-A1CC2FB46558}" srcOrd="0" destOrd="0" presId="urn:microsoft.com/office/officeart/2005/8/layout/orgChart1"/>
    <dgm:cxn modelId="{4C0CA7C6-0581-4406-988D-4719277FDDBF}" type="presParOf" srcId="{1E16E06B-ADD5-45DF-947C-A1CC2FB46558}" destId="{F2567F00-5FC3-4542-9778-09553A9D9369}" srcOrd="0" destOrd="0" presId="urn:microsoft.com/office/officeart/2005/8/layout/orgChart1"/>
    <dgm:cxn modelId="{F16CEA9F-248A-4F7C-97D6-246B2C01BDC7}" type="presParOf" srcId="{1E16E06B-ADD5-45DF-947C-A1CC2FB46558}" destId="{D7D31D6F-73AB-4C3D-9949-82B69E71E06F}" srcOrd="1" destOrd="0" presId="urn:microsoft.com/office/officeart/2005/8/layout/orgChart1"/>
    <dgm:cxn modelId="{5F59976A-F8D5-4708-891C-9EE9C7D1556F}" type="presParOf" srcId="{19CBFF7F-60C7-45B8-BD3B-C8EE26652D52}" destId="{4F48D3C2-B223-4612-898B-1709BBBB20E0}" srcOrd="1" destOrd="0" presId="urn:microsoft.com/office/officeart/2005/8/layout/orgChart1"/>
    <dgm:cxn modelId="{9D3B9021-77CA-4322-87B7-1CEF5E1A231A}" type="presParOf" srcId="{19CBFF7F-60C7-45B8-BD3B-C8EE26652D52}" destId="{F9735A82-32D2-4508-A6CF-BBF367312F59}" srcOrd="2" destOrd="0" presId="urn:microsoft.com/office/officeart/2005/8/layout/orgChart1"/>
    <dgm:cxn modelId="{74CB0B60-C3B0-4F10-B779-2D613BD265C3}" type="presParOf" srcId="{3DDFBEA2-B70F-4F60-BFB5-158C34CEADBC}" destId="{6FCE9997-4FB3-4469-90D4-CD19026A95D5}" srcOrd="2" destOrd="0" presId="urn:microsoft.com/office/officeart/2005/8/layout/orgChart1"/>
    <dgm:cxn modelId="{5EF60CC8-9A0C-41D2-88AE-085C79839F39}" type="presParOf" srcId="{3DDFBEA2-B70F-4F60-BFB5-158C34CEADBC}" destId="{7490F970-BE68-4AA4-8F14-9E8C81DA0AA7}" srcOrd="3" destOrd="0" presId="urn:microsoft.com/office/officeart/2005/8/layout/orgChart1"/>
    <dgm:cxn modelId="{95548839-4968-499F-9553-7D0164D74CC5}" type="presParOf" srcId="{7490F970-BE68-4AA4-8F14-9E8C81DA0AA7}" destId="{21C9458E-4F0A-4D0E-AB94-9B4A9F92AB4F}" srcOrd="0" destOrd="0" presId="urn:microsoft.com/office/officeart/2005/8/layout/orgChart1"/>
    <dgm:cxn modelId="{F71B28E2-2E3E-462A-9853-7B21E2A0B009}" type="presParOf" srcId="{21C9458E-4F0A-4D0E-AB94-9B4A9F92AB4F}" destId="{AD4D9342-B030-4636-8BA4-32EB95AF1FA6}" srcOrd="0" destOrd="0" presId="urn:microsoft.com/office/officeart/2005/8/layout/orgChart1"/>
    <dgm:cxn modelId="{54F6D39A-794A-45D6-A0BF-4BD1515F30E8}" type="presParOf" srcId="{21C9458E-4F0A-4D0E-AB94-9B4A9F92AB4F}" destId="{CEB5691D-F994-4B6C-B358-2D7791243326}" srcOrd="1" destOrd="0" presId="urn:microsoft.com/office/officeart/2005/8/layout/orgChart1"/>
    <dgm:cxn modelId="{AC09E576-DD1E-473D-858C-7A95A15A64C3}" type="presParOf" srcId="{7490F970-BE68-4AA4-8F14-9E8C81DA0AA7}" destId="{15B70198-1039-4D5E-9334-E7E12184319E}" srcOrd="1" destOrd="0" presId="urn:microsoft.com/office/officeart/2005/8/layout/orgChart1"/>
    <dgm:cxn modelId="{B1A110AC-E269-4708-A85B-45A98DBEF6B1}" type="presParOf" srcId="{7490F970-BE68-4AA4-8F14-9E8C81DA0AA7}" destId="{A8ED20B5-9ACC-4A36-B1AD-49257A84FEA7}" srcOrd="2" destOrd="0" presId="urn:microsoft.com/office/officeart/2005/8/layout/orgChart1"/>
    <dgm:cxn modelId="{9E5E6C4A-4482-4E57-B0A6-64620896103E}" type="presParOf" srcId="{3DDFBEA2-B70F-4F60-BFB5-158C34CEADBC}" destId="{C4D810E2-5433-4DA4-AD13-175AB12F9909}" srcOrd="4" destOrd="0" presId="urn:microsoft.com/office/officeart/2005/8/layout/orgChart1"/>
    <dgm:cxn modelId="{316F5821-BBFD-41A4-BE3F-39E5ECFA78E4}" type="presParOf" srcId="{3DDFBEA2-B70F-4F60-BFB5-158C34CEADBC}" destId="{AB22BF8B-FDCF-46DF-911C-4171BD545386}" srcOrd="5" destOrd="0" presId="urn:microsoft.com/office/officeart/2005/8/layout/orgChart1"/>
    <dgm:cxn modelId="{3F74071D-2717-4A80-9AE8-EB107ACDD330}" type="presParOf" srcId="{AB22BF8B-FDCF-46DF-911C-4171BD545386}" destId="{FA38B1AE-C627-4E4F-8A07-050AAE125542}" srcOrd="0" destOrd="0" presId="urn:microsoft.com/office/officeart/2005/8/layout/orgChart1"/>
    <dgm:cxn modelId="{F737EA8A-0944-4ED8-8605-BA7A4ABCB237}" type="presParOf" srcId="{FA38B1AE-C627-4E4F-8A07-050AAE125542}" destId="{4C3097B5-E874-42A5-8824-C75C3F8A7CC2}" srcOrd="0" destOrd="0" presId="urn:microsoft.com/office/officeart/2005/8/layout/orgChart1"/>
    <dgm:cxn modelId="{DA7576AB-4A81-45E8-BCB2-E64D20A0D75B}" type="presParOf" srcId="{FA38B1AE-C627-4E4F-8A07-050AAE125542}" destId="{FAF05D12-99F6-4391-BCE2-075FD5E7C637}" srcOrd="1" destOrd="0" presId="urn:microsoft.com/office/officeart/2005/8/layout/orgChart1"/>
    <dgm:cxn modelId="{744FCCB0-D52D-4804-B1A9-96E71E3E3304}" type="presParOf" srcId="{AB22BF8B-FDCF-46DF-911C-4171BD545386}" destId="{1684E056-05B1-4A98-997A-E0F7F5B9CE7F}" srcOrd="1" destOrd="0" presId="urn:microsoft.com/office/officeart/2005/8/layout/orgChart1"/>
    <dgm:cxn modelId="{85DDF0FA-9749-4DD6-80C7-2DA43A1C7FEC}" type="presParOf" srcId="{AB22BF8B-FDCF-46DF-911C-4171BD545386}" destId="{3DB87C1C-6532-42DE-83FB-AF3F39396FA7}" srcOrd="2" destOrd="0" presId="urn:microsoft.com/office/officeart/2005/8/layout/orgChart1"/>
    <dgm:cxn modelId="{30036EC4-352D-4E65-B94D-D688BC9B0BE7}" type="presParOf" srcId="{B4BF3A9C-D0F8-438B-B5C9-AE82C433AA59}" destId="{8A7771CC-9DD5-4770-BE6A-046B20FBFAA1}" srcOrd="2" destOrd="0" presId="urn:microsoft.com/office/officeart/2005/8/layout/orgChart1"/>
    <dgm:cxn modelId="{E1471090-C407-4DAD-BE8E-8751374D74EF}" type="presParOf" srcId="{8A7771CC-9DD5-4770-BE6A-046B20FBFAA1}" destId="{44FA1420-435A-4DDB-A090-14A71637EDF9}" srcOrd="0" destOrd="0" presId="urn:microsoft.com/office/officeart/2005/8/layout/orgChart1"/>
    <dgm:cxn modelId="{BD6A84B1-135E-4CC9-9CBC-6B849D1E09F6}" type="presParOf" srcId="{8A7771CC-9DD5-4770-BE6A-046B20FBFAA1}" destId="{84077F2F-08D9-401F-8F4D-BD980A553689}" srcOrd="1" destOrd="0" presId="urn:microsoft.com/office/officeart/2005/8/layout/orgChart1"/>
    <dgm:cxn modelId="{66BBAD0C-4780-435C-9AE4-1986DE1E9677}" type="presParOf" srcId="{84077F2F-08D9-401F-8F4D-BD980A553689}" destId="{DCD779A3-0540-4A49-BE3A-BF01E3B93578}" srcOrd="0" destOrd="0" presId="urn:microsoft.com/office/officeart/2005/8/layout/orgChart1"/>
    <dgm:cxn modelId="{2E3F385B-233D-4AFD-9002-65080E140122}" type="presParOf" srcId="{DCD779A3-0540-4A49-BE3A-BF01E3B93578}" destId="{B9717555-59F5-42CD-8ABB-5E8B673A5F39}" srcOrd="0" destOrd="0" presId="urn:microsoft.com/office/officeart/2005/8/layout/orgChart1"/>
    <dgm:cxn modelId="{591BDA6C-C6A6-498E-95AD-0CB9AADD801B}" type="presParOf" srcId="{DCD779A3-0540-4A49-BE3A-BF01E3B93578}" destId="{9BB83BBC-E387-44EA-83E7-C036FD5D27CD}" srcOrd="1" destOrd="0" presId="urn:microsoft.com/office/officeart/2005/8/layout/orgChart1"/>
    <dgm:cxn modelId="{D32F62AF-E606-4213-9A6E-970E53E9B405}" type="presParOf" srcId="{84077F2F-08D9-401F-8F4D-BD980A553689}" destId="{E71EC211-6115-4029-9C77-05BED90F778E}" srcOrd="1" destOrd="0" presId="urn:microsoft.com/office/officeart/2005/8/layout/orgChart1"/>
    <dgm:cxn modelId="{F1C10D2D-8CEE-4F10-8A44-A73C97946B32}" type="presParOf" srcId="{84077F2F-08D9-401F-8F4D-BD980A553689}" destId="{E48312C7-A421-4B7E-B657-C6EA1272D2E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C19B78-3A74-4314-B3ED-C981F9B189D9}">
      <dsp:nvSpPr>
        <dsp:cNvPr id="0" name=""/>
        <dsp:cNvSpPr/>
      </dsp:nvSpPr>
      <dsp:spPr>
        <a:xfrm>
          <a:off x="600766" y="336837"/>
          <a:ext cx="255964" cy="255964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638251" y="374322"/>
        <a:ext cx="180994" cy="180994"/>
      </dsp:txXfrm>
    </dsp:sp>
    <dsp:sp modelId="{EBDAC40D-266E-4D51-94BB-A2D76869AC09}">
      <dsp:nvSpPr>
        <dsp:cNvPr id="0" name=""/>
        <dsp:cNvSpPr/>
      </dsp:nvSpPr>
      <dsp:spPr>
        <a:xfrm rot="16200000">
          <a:off x="690044" y="282327"/>
          <a:ext cx="77409" cy="31611"/>
        </a:xfrm>
        <a:custGeom>
          <a:avLst/>
          <a:gdLst/>
          <a:ahLst/>
          <a:cxnLst/>
          <a:rect l="0" t="0" r="0" b="0"/>
          <a:pathLst>
            <a:path>
              <a:moveTo>
                <a:pt x="0" y="15805"/>
              </a:moveTo>
              <a:lnTo>
                <a:pt x="77409" y="15805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726813" y="296197"/>
        <a:ext cx="3870" cy="3870"/>
      </dsp:txXfrm>
    </dsp:sp>
    <dsp:sp modelId="{0231D62D-3D03-40E2-84B6-D76C8704AB46}">
      <dsp:nvSpPr>
        <dsp:cNvPr id="0" name=""/>
        <dsp:cNvSpPr/>
      </dsp:nvSpPr>
      <dsp:spPr>
        <a:xfrm>
          <a:off x="600766" y="3463"/>
          <a:ext cx="255964" cy="255964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638251" y="40948"/>
        <a:ext cx="180994" cy="180994"/>
      </dsp:txXfrm>
    </dsp:sp>
    <dsp:sp modelId="{FEE8C572-8CF2-4899-883F-95ACC5848792}">
      <dsp:nvSpPr>
        <dsp:cNvPr id="0" name=""/>
        <dsp:cNvSpPr/>
      </dsp:nvSpPr>
      <dsp:spPr>
        <a:xfrm>
          <a:off x="856731" y="449014"/>
          <a:ext cx="77409" cy="31611"/>
        </a:xfrm>
        <a:custGeom>
          <a:avLst/>
          <a:gdLst/>
          <a:ahLst/>
          <a:cxnLst/>
          <a:rect l="0" t="0" r="0" b="0"/>
          <a:pathLst>
            <a:path>
              <a:moveTo>
                <a:pt x="0" y="15805"/>
              </a:moveTo>
              <a:lnTo>
                <a:pt x="77409" y="15805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893500" y="462884"/>
        <a:ext cx="3870" cy="3870"/>
      </dsp:txXfrm>
    </dsp:sp>
    <dsp:sp modelId="{95B11404-81D4-4F27-8ABA-CBB0552EB57F}">
      <dsp:nvSpPr>
        <dsp:cNvPr id="0" name=""/>
        <dsp:cNvSpPr/>
      </dsp:nvSpPr>
      <dsp:spPr>
        <a:xfrm>
          <a:off x="934140" y="336837"/>
          <a:ext cx="255964" cy="255964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971625" y="374322"/>
        <a:ext cx="180994" cy="180994"/>
      </dsp:txXfrm>
    </dsp:sp>
    <dsp:sp modelId="{AC5107EB-F64F-4188-9070-316B1F195C9F}">
      <dsp:nvSpPr>
        <dsp:cNvPr id="0" name=""/>
        <dsp:cNvSpPr/>
      </dsp:nvSpPr>
      <dsp:spPr>
        <a:xfrm rot="5400000">
          <a:off x="690044" y="615701"/>
          <a:ext cx="77409" cy="31611"/>
        </a:xfrm>
        <a:custGeom>
          <a:avLst/>
          <a:gdLst/>
          <a:ahLst/>
          <a:cxnLst/>
          <a:rect l="0" t="0" r="0" b="0"/>
          <a:pathLst>
            <a:path>
              <a:moveTo>
                <a:pt x="0" y="15805"/>
              </a:moveTo>
              <a:lnTo>
                <a:pt x="77409" y="15805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726813" y="629571"/>
        <a:ext cx="3870" cy="3870"/>
      </dsp:txXfrm>
    </dsp:sp>
    <dsp:sp modelId="{A7C486CA-74BF-4FDA-87B9-60FB2844657E}">
      <dsp:nvSpPr>
        <dsp:cNvPr id="0" name=""/>
        <dsp:cNvSpPr/>
      </dsp:nvSpPr>
      <dsp:spPr>
        <a:xfrm>
          <a:off x="600766" y="670211"/>
          <a:ext cx="255964" cy="255964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638251" y="707696"/>
        <a:ext cx="180994" cy="180994"/>
      </dsp:txXfrm>
    </dsp:sp>
    <dsp:sp modelId="{64BC6BBA-D70F-49CA-B48A-0BAAFCEE36F4}">
      <dsp:nvSpPr>
        <dsp:cNvPr id="0" name=""/>
        <dsp:cNvSpPr/>
      </dsp:nvSpPr>
      <dsp:spPr>
        <a:xfrm rot="10800000">
          <a:off x="523357" y="449014"/>
          <a:ext cx="77409" cy="31611"/>
        </a:xfrm>
        <a:custGeom>
          <a:avLst/>
          <a:gdLst/>
          <a:ahLst/>
          <a:cxnLst/>
          <a:rect l="0" t="0" r="0" b="0"/>
          <a:pathLst>
            <a:path>
              <a:moveTo>
                <a:pt x="0" y="15805"/>
              </a:moveTo>
              <a:lnTo>
                <a:pt x="77409" y="15805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560126" y="462884"/>
        <a:ext cx="3870" cy="3870"/>
      </dsp:txXfrm>
    </dsp:sp>
    <dsp:sp modelId="{17299F73-2E71-42D8-9019-06536B247055}">
      <dsp:nvSpPr>
        <dsp:cNvPr id="0" name=""/>
        <dsp:cNvSpPr/>
      </dsp:nvSpPr>
      <dsp:spPr>
        <a:xfrm>
          <a:off x="267392" y="336837"/>
          <a:ext cx="255964" cy="255964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304877" y="374322"/>
        <a:ext cx="180994" cy="1809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C5324F-B794-43E1-BE05-AB51758533D6}">
      <dsp:nvSpPr>
        <dsp:cNvPr id="0" name=""/>
        <dsp:cNvSpPr/>
      </dsp:nvSpPr>
      <dsp:spPr>
        <a:xfrm>
          <a:off x="588550" y="310"/>
          <a:ext cx="280397" cy="28039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629613" y="41373"/>
        <a:ext cx="198271" cy="198271"/>
      </dsp:txXfrm>
    </dsp:sp>
    <dsp:sp modelId="{E9B1B51C-3173-4A68-8E04-C965E4ABD599}">
      <dsp:nvSpPr>
        <dsp:cNvPr id="0" name=""/>
        <dsp:cNvSpPr/>
      </dsp:nvSpPr>
      <dsp:spPr>
        <a:xfrm rot="2160000">
          <a:off x="860075" y="215668"/>
          <a:ext cx="74494" cy="94634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862209" y="228027"/>
        <a:ext cx="52146" cy="56780"/>
      </dsp:txXfrm>
    </dsp:sp>
    <dsp:sp modelId="{54F9B375-BD47-42AF-87C9-C4C7D9E48AB6}">
      <dsp:nvSpPr>
        <dsp:cNvPr id="0" name=""/>
        <dsp:cNvSpPr/>
      </dsp:nvSpPr>
      <dsp:spPr>
        <a:xfrm>
          <a:off x="929108" y="247741"/>
          <a:ext cx="280397" cy="28039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970171" y="288804"/>
        <a:ext cx="198271" cy="198271"/>
      </dsp:txXfrm>
    </dsp:sp>
    <dsp:sp modelId="{9953932E-CCF5-4FFF-A27A-4D2695A55600}">
      <dsp:nvSpPr>
        <dsp:cNvPr id="0" name=""/>
        <dsp:cNvSpPr/>
      </dsp:nvSpPr>
      <dsp:spPr>
        <a:xfrm rot="6480000">
          <a:off x="967670" y="538792"/>
          <a:ext cx="74494" cy="94634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982297" y="547092"/>
        <a:ext cx="52146" cy="56780"/>
      </dsp:txXfrm>
    </dsp:sp>
    <dsp:sp modelId="{9CA894F3-C17B-48E1-A41A-066AF0A60A2F}">
      <dsp:nvSpPr>
        <dsp:cNvPr id="0" name=""/>
        <dsp:cNvSpPr/>
      </dsp:nvSpPr>
      <dsp:spPr>
        <a:xfrm>
          <a:off x="799026" y="648091"/>
          <a:ext cx="280397" cy="28039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840089" y="689154"/>
        <a:ext cx="198271" cy="198271"/>
      </dsp:txXfrm>
    </dsp:sp>
    <dsp:sp modelId="{0C975E75-152D-4B23-8EFF-B3CE770343E6}">
      <dsp:nvSpPr>
        <dsp:cNvPr id="0" name=""/>
        <dsp:cNvSpPr/>
      </dsp:nvSpPr>
      <dsp:spPr>
        <a:xfrm rot="10800000">
          <a:off x="693610" y="740973"/>
          <a:ext cx="74494" cy="94634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715958" y="759900"/>
        <a:ext cx="52146" cy="56780"/>
      </dsp:txXfrm>
    </dsp:sp>
    <dsp:sp modelId="{1AB70C0F-DB1F-40EE-807C-46F60211DA4B}">
      <dsp:nvSpPr>
        <dsp:cNvPr id="0" name=""/>
        <dsp:cNvSpPr/>
      </dsp:nvSpPr>
      <dsp:spPr>
        <a:xfrm>
          <a:off x="378073" y="648091"/>
          <a:ext cx="280397" cy="28039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419136" y="689154"/>
        <a:ext cx="198271" cy="198271"/>
      </dsp:txXfrm>
    </dsp:sp>
    <dsp:sp modelId="{C97A16E6-06CA-4092-AE3F-D043A50F29F1}">
      <dsp:nvSpPr>
        <dsp:cNvPr id="0" name=""/>
        <dsp:cNvSpPr/>
      </dsp:nvSpPr>
      <dsp:spPr>
        <a:xfrm rot="15120000">
          <a:off x="416635" y="542803"/>
          <a:ext cx="74494" cy="94634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431262" y="572357"/>
        <a:ext cx="52146" cy="56780"/>
      </dsp:txXfrm>
    </dsp:sp>
    <dsp:sp modelId="{9AFCA0B3-4720-49CD-A430-4C90F7790854}">
      <dsp:nvSpPr>
        <dsp:cNvPr id="0" name=""/>
        <dsp:cNvSpPr/>
      </dsp:nvSpPr>
      <dsp:spPr>
        <a:xfrm>
          <a:off x="247991" y="247741"/>
          <a:ext cx="280397" cy="28039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 </a:t>
          </a:r>
          <a:endParaRPr lang="en-US" sz="1200" kern="1200" dirty="0"/>
        </a:p>
      </dsp:txBody>
      <dsp:txXfrm>
        <a:off x="289054" y="288804"/>
        <a:ext cx="198271" cy="198271"/>
      </dsp:txXfrm>
    </dsp:sp>
    <dsp:sp modelId="{FD18ECD0-780E-42DC-BB5D-9A52344DF8E8}">
      <dsp:nvSpPr>
        <dsp:cNvPr id="0" name=""/>
        <dsp:cNvSpPr/>
      </dsp:nvSpPr>
      <dsp:spPr>
        <a:xfrm rot="19440000">
          <a:off x="519516" y="218146"/>
          <a:ext cx="74494" cy="94634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21650" y="243641"/>
        <a:ext cx="52146" cy="567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FA1420-435A-4DDB-A090-14A71637EDF9}">
      <dsp:nvSpPr>
        <dsp:cNvPr id="0" name=""/>
        <dsp:cNvSpPr/>
      </dsp:nvSpPr>
      <dsp:spPr>
        <a:xfrm>
          <a:off x="487116" y="868041"/>
          <a:ext cx="91440" cy="152691"/>
        </a:xfrm>
        <a:custGeom>
          <a:avLst/>
          <a:gdLst/>
          <a:ahLst/>
          <a:cxnLst/>
          <a:rect l="0" t="0" r="0" b="0"/>
          <a:pathLst>
            <a:path>
              <a:moveTo>
                <a:pt x="80573" y="0"/>
              </a:moveTo>
              <a:lnTo>
                <a:pt x="80573" y="152691"/>
              </a:lnTo>
              <a:lnTo>
                <a:pt x="45720" y="152691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D810E2-5433-4DA4-AD13-175AB12F9909}">
      <dsp:nvSpPr>
        <dsp:cNvPr id="0" name=""/>
        <dsp:cNvSpPr/>
      </dsp:nvSpPr>
      <dsp:spPr>
        <a:xfrm>
          <a:off x="567690" y="868041"/>
          <a:ext cx="401644" cy="3053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0529"/>
              </a:lnTo>
              <a:lnTo>
                <a:pt x="401644" y="270529"/>
              </a:lnTo>
              <a:lnTo>
                <a:pt x="401644" y="305382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CE9997-4FB3-4469-90D4-CD19026A95D5}">
      <dsp:nvSpPr>
        <dsp:cNvPr id="0" name=""/>
        <dsp:cNvSpPr/>
      </dsp:nvSpPr>
      <dsp:spPr>
        <a:xfrm>
          <a:off x="521970" y="868041"/>
          <a:ext cx="91440" cy="3053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5382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904C10-CF94-45FD-8084-2FBFF127DF5C}">
      <dsp:nvSpPr>
        <dsp:cNvPr id="0" name=""/>
        <dsp:cNvSpPr/>
      </dsp:nvSpPr>
      <dsp:spPr>
        <a:xfrm>
          <a:off x="166045" y="868041"/>
          <a:ext cx="401644" cy="305382"/>
        </a:xfrm>
        <a:custGeom>
          <a:avLst/>
          <a:gdLst/>
          <a:ahLst/>
          <a:cxnLst/>
          <a:rect l="0" t="0" r="0" b="0"/>
          <a:pathLst>
            <a:path>
              <a:moveTo>
                <a:pt x="401644" y="0"/>
              </a:moveTo>
              <a:lnTo>
                <a:pt x="401644" y="270529"/>
              </a:lnTo>
              <a:lnTo>
                <a:pt x="0" y="270529"/>
              </a:lnTo>
              <a:lnTo>
                <a:pt x="0" y="305382"/>
              </a:lnTo>
            </a:path>
          </a:pathLst>
        </a:custGeom>
        <a:noFill/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FD6D3D-70A0-4B34-8D86-2FEF91C61DBB}">
      <dsp:nvSpPr>
        <dsp:cNvPr id="0" name=""/>
        <dsp:cNvSpPr/>
      </dsp:nvSpPr>
      <dsp:spPr>
        <a:xfrm>
          <a:off x="401721" y="702072"/>
          <a:ext cx="331937" cy="165968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401721" y="702072"/>
        <a:ext cx="331937" cy="165968"/>
      </dsp:txXfrm>
    </dsp:sp>
    <dsp:sp modelId="{F2567F00-5FC3-4542-9778-09553A9D9369}">
      <dsp:nvSpPr>
        <dsp:cNvPr id="0" name=""/>
        <dsp:cNvSpPr/>
      </dsp:nvSpPr>
      <dsp:spPr>
        <a:xfrm>
          <a:off x="76" y="1173424"/>
          <a:ext cx="331937" cy="165968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76" y="1173424"/>
        <a:ext cx="331937" cy="165968"/>
      </dsp:txXfrm>
    </dsp:sp>
    <dsp:sp modelId="{AD4D9342-B030-4636-8BA4-32EB95AF1FA6}">
      <dsp:nvSpPr>
        <dsp:cNvPr id="0" name=""/>
        <dsp:cNvSpPr/>
      </dsp:nvSpPr>
      <dsp:spPr>
        <a:xfrm>
          <a:off x="401721" y="1173424"/>
          <a:ext cx="331937" cy="165968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401721" y="1173424"/>
        <a:ext cx="331937" cy="165968"/>
      </dsp:txXfrm>
    </dsp:sp>
    <dsp:sp modelId="{4C3097B5-E874-42A5-8824-C75C3F8A7CC2}">
      <dsp:nvSpPr>
        <dsp:cNvPr id="0" name=""/>
        <dsp:cNvSpPr/>
      </dsp:nvSpPr>
      <dsp:spPr>
        <a:xfrm>
          <a:off x="803365" y="1173424"/>
          <a:ext cx="331937" cy="165968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803365" y="1173424"/>
        <a:ext cx="331937" cy="165968"/>
      </dsp:txXfrm>
    </dsp:sp>
    <dsp:sp modelId="{B9717555-59F5-42CD-8ABB-5E8B673A5F39}">
      <dsp:nvSpPr>
        <dsp:cNvPr id="0" name=""/>
        <dsp:cNvSpPr/>
      </dsp:nvSpPr>
      <dsp:spPr>
        <a:xfrm>
          <a:off x="200898" y="937748"/>
          <a:ext cx="331937" cy="165968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200898" y="937748"/>
        <a:ext cx="331937" cy="1659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9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6707" y="0"/>
            <a:ext cx="2889250" cy="4969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90B2B6-C405-4CE0-B3AE-88929DD37D35}" type="datetimeFigureOut">
              <a:rPr lang="en-US" smtClean="0"/>
              <a:t>12/1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1238250"/>
            <a:ext cx="44577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66499"/>
            <a:ext cx="5334000" cy="38998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7474"/>
            <a:ext cx="2889250" cy="4969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6707" y="9407474"/>
            <a:ext cx="2889250" cy="4969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8177A8-229B-47D1-AFC5-670FEDB15C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26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1238250"/>
            <a:ext cx="4457700" cy="33432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6651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3674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1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4334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2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7356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5752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4044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5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6638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726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6626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8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832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19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886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079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1543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21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0199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22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2473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728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6701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8037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803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504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699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1872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65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2AA48-C0EC-43DB-A450-5503E49A6068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402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AF1AD-43E6-4F36-8998-4C584AAD58A0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476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888143-769C-4CC8-B585-3643AD2712D4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535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AE28A-701B-459E-87C4-637D62598161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13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381214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4" y="3886647"/>
            <a:ext cx="6400354" cy="17524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64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07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50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71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B90197-ACFA-43DB-9EA7-849F11DBFFF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2194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61306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20A53-1BC5-41F6-8A99-88C379BF2B4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3566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46040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1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32145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429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3pPr>
            <a:lvl4pPr marL="96437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28582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07287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192874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25020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57165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48DCF1-A277-496A-8849-21E94FFC44B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2441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09691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647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9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B86E2-D7C0-43F5-9C52-B460996E7DA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57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43651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4B066-4265-4B24-B5A0-96A62B32A9E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836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097217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C54BC-B0EB-4B69-ADFB-9A63D52A02F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7010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246330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77BD5-E560-4613-BC1F-830F51F4215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146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5CC41-7AEF-438D-89EE-45F725D11FBC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356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01434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3473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4" y="273472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7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5FE3B-8E77-4087-A3E8-18B2999C9B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1788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883774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5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5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57" indent="0">
              <a:buNone/>
              <a:defRPr sz="2000"/>
            </a:lvl2pPr>
            <a:lvl3pPr marL="642915" indent="0">
              <a:buNone/>
              <a:defRPr sz="1700"/>
            </a:lvl3pPr>
            <a:lvl4pPr marL="964372" indent="0">
              <a:buNone/>
              <a:defRPr sz="1400"/>
            </a:lvl4pPr>
            <a:lvl5pPr marL="1285829" indent="0">
              <a:buNone/>
              <a:defRPr sz="1400"/>
            </a:lvl5pPr>
            <a:lvl6pPr marL="1607287" indent="0">
              <a:buNone/>
              <a:defRPr sz="1400"/>
            </a:lvl6pPr>
            <a:lvl7pPr marL="1928744" indent="0">
              <a:buNone/>
              <a:defRPr sz="1400"/>
            </a:lvl7pPr>
            <a:lvl8pPr marL="2250201" indent="0">
              <a:buNone/>
              <a:defRPr sz="1400"/>
            </a:lvl8pPr>
            <a:lvl9pPr marL="2571659" indent="0">
              <a:buNone/>
              <a:defRPr sz="14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5" y="5367859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56025-8DFF-4CD2-B137-30AD44DB488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3876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67391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3A858-34DE-4DF5-8C7C-01B25AD2437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015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016982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177" y="274588"/>
            <a:ext cx="2057176" cy="585117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647" y="274588"/>
            <a:ext cx="6064374" cy="585117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3F159-4734-4E32-9D63-6E59C9162F5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31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49355" y="1622493"/>
            <a:ext cx="5286056" cy="230657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55675" y="4286250"/>
            <a:ext cx="4734807" cy="2122714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026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DC27C-BD5A-4362-AD5F-ED24783F7A0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288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5714F9-F82A-4D0C-9BE6-03A24C6D0FC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0567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CA1B-7104-4E08-BBB2-C74A06946C9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2830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E6E68-1C28-4B46-942D-F0F09FE1A69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7183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27C90-1414-45E5-92C9-DBCFB55FA1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81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BB910-BA1F-46FC-AB09-F421067A72D4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8411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C7ACC-219A-4A38-82FA-E350E646AF7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1045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0A7DF-629D-48EB-A3C7-F3F0361B95B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5033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20D9F-310C-4151-8174-1328AA8AE1C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0145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6EB32-6D61-4B12-A80D-322B733CA9D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773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042FD-EE30-489C-933F-21A29D432C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300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E8CA6-BE98-4496-BE86-2631F47145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235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347663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1836" y="0"/>
            <a:ext cx="7886700" cy="1325563"/>
          </a:xfrm>
        </p:spPr>
        <p:txBody>
          <a:bodyPr/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1836" y="1454406"/>
            <a:ext cx="4116586" cy="4616648"/>
          </a:xfrm>
        </p:spPr>
        <p:txBody>
          <a:bodyPr/>
          <a:lstStyle>
            <a:lvl1pPr>
              <a:defRPr sz="1969"/>
            </a:lvl1pPr>
            <a:lvl2pPr>
              <a:defRPr sz="1687"/>
            </a:lvl2pPr>
            <a:lvl3pPr>
              <a:defRPr sz="1406"/>
            </a:lvl3pPr>
            <a:lvl4pPr>
              <a:defRPr sz="1266"/>
            </a:lvl4pPr>
            <a:lvl5pPr>
              <a:defRPr sz="1266"/>
            </a:lvl5pPr>
            <a:lvl6pPr>
              <a:defRPr sz="1266"/>
            </a:lvl6pPr>
            <a:lvl7pPr>
              <a:defRPr sz="1266"/>
            </a:lvl7pPr>
            <a:lvl8pPr>
              <a:defRPr sz="1266"/>
            </a:lvl8pPr>
            <a:lvl9pPr>
              <a:defRPr sz="1266"/>
            </a:lvl9pPr>
          </a:lstStyle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5578" y="1454406"/>
            <a:ext cx="4116586" cy="4616648"/>
          </a:xfrm>
        </p:spPr>
        <p:txBody>
          <a:bodyPr/>
          <a:lstStyle>
            <a:lvl1pPr>
              <a:defRPr sz="1969"/>
            </a:lvl1pPr>
            <a:lvl2pPr>
              <a:defRPr sz="1687"/>
            </a:lvl2pPr>
            <a:lvl3pPr>
              <a:defRPr sz="1406"/>
            </a:lvl3pPr>
            <a:lvl4pPr>
              <a:defRPr sz="1266"/>
            </a:lvl4pPr>
            <a:lvl5pPr>
              <a:defRPr sz="1266"/>
            </a:lvl5pPr>
            <a:lvl6pPr>
              <a:defRPr sz="1266"/>
            </a:lvl6pPr>
            <a:lvl7pPr>
              <a:defRPr sz="1266"/>
            </a:lvl7pPr>
            <a:lvl8pPr>
              <a:defRPr sz="1266"/>
            </a:lvl8pPr>
            <a:lvl9pPr>
              <a:defRPr sz="1266"/>
            </a:lvl9pPr>
          </a:lstStyle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881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74268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1836" y="0"/>
            <a:ext cx="7886700" cy="1325563"/>
          </a:xfrm>
        </p:spPr>
        <p:txBody>
          <a:bodyPr/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1836" y="1454406"/>
            <a:ext cx="8340328" cy="5012432"/>
          </a:xfrm>
        </p:spPr>
        <p:txBody>
          <a:bodyPr tIns="46800"/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410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57725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4" y="3886647"/>
            <a:ext cx="6400354" cy="17524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64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07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50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71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87015-E88B-495B-B854-04552354670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0034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23083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783F8B-9602-4415-B286-77EF96A70D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087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A82D5-C01D-41C6-A954-F57D83B0C5D3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17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656423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1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32145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429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3pPr>
            <a:lvl4pPr marL="96437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28582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07287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192874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25020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57165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E1DEB-1AA2-4B84-B4A7-2DF0BEB89B9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4646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870119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647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9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C562E-AD3C-42FE-BEB9-A52E850DB42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98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826353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5EAFF-04B2-4F83-B228-B99CC1EBFA7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5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045589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A611C-963F-428B-9FA3-3812FBAB708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3466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47935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E2EE7-7A19-4E7E-8DC7-81DC061E86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947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32946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3473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4" y="273472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7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0FCBB-62D4-4BD9-B1DD-2A1C5A75ED0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6217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976351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5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5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57" indent="0">
              <a:buNone/>
              <a:defRPr sz="2000"/>
            </a:lvl2pPr>
            <a:lvl3pPr marL="642915" indent="0">
              <a:buNone/>
              <a:defRPr sz="1700"/>
            </a:lvl3pPr>
            <a:lvl4pPr marL="964372" indent="0">
              <a:buNone/>
              <a:defRPr sz="1400"/>
            </a:lvl4pPr>
            <a:lvl5pPr marL="1285829" indent="0">
              <a:buNone/>
              <a:defRPr sz="1400"/>
            </a:lvl5pPr>
            <a:lvl6pPr marL="1607287" indent="0">
              <a:buNone/>
              <a:defRPr sz="1400"/>
            </a:lvl6pPr>
            <a:lvl7pPr marL="1928744" indent="0">
              <a:buNone/>
              <a:defRPr sz="1400"/>
            </a:lvl7pPr>
            <a:lvl8pPr marL="2250201" indent="0">
              <a:buNone/>
              <a:defRPr sz="1400"/>
            </a:lvl8pPr>
            <a:lvl9pPr marL="2571659" indent="0">
              <a:buNone/>
              <a:defRPr sz="14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5" y="5367859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F0BE1-087C-435B-9468-A0586329871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5667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854209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152896-D67C-452F-9551-BB803CAA0D7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5748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39843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177" y="274588"/>
            <a:ext cx="2057176" cy="585117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647" y="274588"/>
            <a:ext cx="6064374" cy="585117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A18C6-3EDB-48CB-A101-DEA106B27FF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12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49355" y="1622493"/>
            <a:ext cx="5286056" cy="230657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55675" y="4286250"/>
            <a:ext cx="4734807" cy="2122714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8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E0306-58FA-42E9-8434-8336A7EA7D6B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177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B4ED8-9193-4CB1-9066-4B2D4B7A8C75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08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0704ED-9BA1-4DE3-8295-0198DF9D99FA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211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E2EDC-527F-47F6-B2CD-B950D8CA1276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52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2AB76-17D0-4AF1-98AE-DB3F85802EF3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10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vmlDrawing" Target="../drawings/vmlDrawing14.v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39.xml"/><Relationship Id="rId16" Type="http://schemas.openxmlformats.org/officeDocument/2006/relationships/oleObject" Target="../embeddings/oleObject17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vmlDrawing" Target="../drawings/vmlDrawing1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3AE28A-701B-459E-87C4-637D62598161}" type="datetime1">
              <a:rPr lang="en-US" smtClean="0"/>
              <a:t>12/10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48784-462F-4CB2-B78D-23278D9E8A8B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7361432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0" y="6280041"/>
            <a:ext cx="851535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17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81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00631394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3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  <a:prstGeom prst="rect">
            <a:avLst/>
          </a:prstGeom>
        </p:spPr>
        <p:txBody>
          <a:bodyPr vert="horz" lIns="64291" tIns="32146" rIns="64291" bIns="32146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600647"/>
            <a:ext cx="8228707" cy="4525119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647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889A1B6-B637-4DDB-A798-E9B314817DD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75" y="6356821"/>
            <a:ext cx="2895451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75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6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642915" rtl="0" eaLnBrk="1" latinLnBrk="0" hangingPunct="1"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093" indent="-241093" algn="l" defTabSz="64291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368" indent="-200911" algn="l" defTabSz="64291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64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25101" indent="-160729" algn="l" defTabSz="64291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46558" indent="-160729" algn="l" defTabSz="64291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68015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947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10930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387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D7709A-4907-4E4E-B1BC-73E0F5367F2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48784-462F-4CB2-B78D-23278D9E8A8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9075276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6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6280041"/>
            <a:ext cx="851535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860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570816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4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  <a:prstGeom prst="rect">
            <a:avLst/>
          </a:prstGeom>
        </p:spPr>
        <p:txBody>
          <a:bodyPr vert="horz" lIns="64291" tIns="32146" rIns="64291" bIns="32146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600647"/>
            <a:ext cx="8228707" cy="4525119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647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5F15E4D-4F5E-472A-B70B-EA634E35514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10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75" y="6356821"/>
            <a:ext cx="2895451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75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3964C96-A895-4725-AFEC-B4079BE404F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96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642915" rtl="0" eaLnBrk="1" latinLnBrk="0" hangingPunct="1"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093" indent="-241093" algn="l" defTabSz="64291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368" indent="-200911" algn="l" defTabSz="64291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64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25101" indent="-160729" algn="l" defTabSz="64291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46558" indent="-160729" algn="l" defTabSz="64291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68015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947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10930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387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5.emf"/><Relationship Id="rId18" Type="http://schemas.openxmlformats.org/officeDocument/2006/relationships/slide" Target="slide22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oleObject" Target="../embeddings/oleObject36.bin"/><Relationship Id="rId17" Type="http://schemas.openxmlformats.org/officeDocument/2006/relationships/slide" Target="slide9.xml"/><Relationship Id="rId2" Type="http://schemas.openxmlformats.org/officeDocument/2006/relationships/tags" Target="../tags/tag62.xml"/><Relationship Id="rId16" Type="http://schemas.openxmlformats.org/officeDocument/2006/relationships/slide" Target="slide7.xml"/><Relationship Id="rId1" Type="http://schemas.openxmlformats.org/officeDocument/2006/relationships/vmlDrawing" Target="../drawings/vmlDrawing36.vml"/><Relationship Id="rId6" Type="http://schemas.openxmlformats.org/officeDocument/2006/relationships/tags" Target="../tags/tag66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65.xml"/><Relationship Id="rId15" Type="http://schemas.openxmlformats.org/officeDocument/2006/relationships/slide" Target="slide6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1.xml"/><Relationship Id="rId7" Type="http://schemas.openxmlformats.org/officeDocument/2006/relationships/slideLayout" Target="../slideLayouts/slideLayout12.xml"/><Relationship Id="rId12" Type="http://schemas.openxmlformats.org/officeDocument/2006/relationships/slide" Target="slide2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4.xml"/><Relationship Id="rId11" Type="http://schemas.openxmlformats.org/officeDocument/2006/relationships/slide" Target="slide6.xml"/><Relationship Id="rId5" Type="http://schemas.openxmlformats.org/officeDocument/2006/relationships/tags" Target="../tags/tag33.xml"/><Relationship Id="rId10" Type="http://schemas.openxmlformats.org/officeDocument/2006/relationships/image" Target="../media/image5.emf"/><Relationship Id="rId4" Type="http://schemas.openxmlformats.org/officeDocument/2006/relationships/tags" Target="../tags/tag32.xml"/><Relationship Id="rId9" Type="http://schemas.openxmlformats.org/officeDocument/2006/relationships/oleObject" Target="../embeddings/oleObject29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75.xml"/><Relationship Id="rId7" Type="http://schemas.openxmlformats.org/officeDocument/2006/relationships/slideLayout" Target="../slideLayouts/slideLayout12.xml"/><Relationship Id="rId12" Type="http://schemas.openxmlformats.org/officeDocument/2006/relationships/slide" Target="slide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1.vml"/><Relationship Id="rId6" Type="http://schemas.openxmlformats.org/officeDocument/2006/relationships/tags" Target="../tags/tag78.xml"/><Relationship Id="rId11" Type="http://schemas.openxmlformats.org/officeDocument/2006/relationships/slide" Target="slide2.xml"/><Relationship Id="rId5" Type="http://schemas.openxmlformats.org/officeDocument/2006/relationships/tags" Target="../tags/tag77.xml"/><Relationship Id="rId10" Type="http://schemas.openxmlformats.org/officeDocument/2006/relationships/image" Target="../media/image5.emf"/><Relationship Id="rId4" Type="http://schemas.openxmlformats.org/officeDocument/2006/relationships/tags" Target="../tags/tag76.xml"/><Relationship Id="rId9" Type="http://schemas.openxmlformats.org/officeDocument/2006/relationships/oleObject" Target="../embeddings/oleObject4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peg"/><Relationship Id="rId4" Type="http://schemas.openxmlformats.org/officeDocument/2006/relationships/hyperlink" Target="http://www.think-cell.com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18" Type="http://schemas.openxmlformats.org/officeDocument/2006/relationships/diagramData" Target="../diagrams/data3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21" Type="http://schemas.openxmlformats.org/officeDocument/2006/relationships/diagramColors" Target="../diagrams/colors3.xml"/><Relationship Id="rId7" Type="http://schemas.openxmlformats.org/officeDocument/2006/relationships/image" Target="../media/image5.emf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5" Type="http://schemas.openxmlformats.org/officeDocument/2006/relationships/image" Target="../media/image9.png"/><Relationship Id="rId2" Type="http://schemas.openxmlformats.org/officeDocument/2006/relationships/tags" Target="../tags/tag35.xml"/><Relationship Id="rId16" Type="http://schemas.openxmlformats.org/officeDocument/2006/relationships/diagramColors" Target="../diagrams/colors2.xml"/><Relationship Id="rId20" Type="http://schemas.openxmlformats.org/officeDocument/2006/relationships/diagramQuickStyle" Target="../diagrams/quickStyle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11" Type="http://schemas.openxmlformats.org/officeDocument/2006/relationships/diagramColors" Target="../diagrams/colors1.xml"/><Relationship Id="rId24" Type="http://schemas.openxmlformats.org/officeDocument/2006/relationships/image" Target="../media/image8.png"/><Relationship Id="rId5" Type="http://schemas.openxmlformats.org/officeDocument/2006/relationships/image" Target="../media/image6.png"/><Relationship Id="rId15" Type="http://schemas.openxmlformats.org/officeDocument/2006/relationships/diagramQuickStyle" Target="../diagrams/quickStyle2.xml"/><Relationship Id="rId23" Type="http://schemas.openxmlformats.org/officeDocument/2006/relationships/image" Target="../media/image7.png"/><Relationship Id="rId28" Type="http://schemas.openxmlformats.org/officeDocument/2006/relationships/image" Target="../media/image12.png"/><Relationship Id="rId10" Type="http://schemas.openxmlformats.org/officeDocument/2006/relationships/diagramQuickStyle" Target="../diagrams/quickStyle1.xml"/><Relationship Id="rId19" Type="http://schemas.openxmlformats.org/officeDocument/2006/relationships/diagramLayout" Target="../diagrams/layout3.xml"/><Relationship Id="rId4" Type="http://schemas.openxmlformats.org/officeDocument/2006/relationships/notesSlide" Target="../notesSlides/notesSlide4.xml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Relationship Id="rId22" Type="http://schemas.microsoft.com/office/2007/relationships/diagramDrawing" Target="../diagrams/drawing3.xml"/><Relationship Id="rId27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5.emf"/><Relationship Id="rId18" Type="http://schemas.openxmlformats.org/officeDocument/2006/relationships/slide" Target="slide2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32.bin"/><Relationship Id="rId17" Type="http://schemas.openxmlformats.org/officeDocument/2006/relationships/slide" Target="slide16.xml"/><Relationship Id="rId2" Type="http://schemas.openxmlformats.org/officeDocument/2006/relationships/tags" Target="../tags/tag37.xml"/><Relationship Id="rId16" Type="http://schemas.openxmlformats.org/officeDocument/2006/relationships/slide" Target="slide9.xml"/><Relationship Id="rId1" Type="http://schemas.openxmlformats.org/officeDocument/2006/relationships/vmlDrawing" Target="../drawings/vmlDrawing32.vml"/><Relationship Id="rId6" Type="http://schemas.openxmlformats.org/officeDocument/2006/relationships/tags" Target="../tags/tag41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40.xml"/><Relationship Id="rId15" Type="http://schemas.openxmlformats.org/officeDocument/2006/relationships/slide" Target="slide7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5.emf"/><Relationship Id="rId18" Type="http://schemas.openxmlformats.org/officeDocument/2006/relationships/slide" Target="slide2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33.bin"/><Relationship Id="rId17" Type="http://schemas.openxmlformats.org/officeDocument/2006/relationships/slide" Target="slide16.xml"/><Relationship Id="rId2" Type="http://schemas.openxmlformats.org/officeDocument/2006/relationships/tags" Target="../tags/tag45.xml"/><Relationship Id="rId16" Type="http://schemas.openxmlformats.org/officeDocument/2006/relationships/slide" Target="slide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49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48.xml"/><Relationship Id="rId15" Type="http://schemas.openxmlformats.org/officeDocument/2006/relationships/slide" Target="slide6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slide" Target="slid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5.emf"/><Relationship Id="rId18" Type="http://schemas.openxmlformats.org/officeDocument/2006/relationships/slide" Target="slide22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oleObject" Target="../embeddings/oleObject34.bin"/><Relationship Id="rId17" Type="http://schemas.openxmlformats.org/officeDocument/2006/relationships/slide" Target="slide16.xml"/><Relationship Id="rId2" Type="http://schemas.openxmlformats.org/officeDocument/2006/relationships/tags" Target="../tags/tag53.xml"/><Relationship Id="rId16" Type="http://schemas.openxmlformats.org/officeDocument/2006/relationships/slide" Target="slide7.xml"/><Relationship Id="rId1" Type="http://schemas.openxmlformats.org/officeDocument/2006/relationships/vmlDrawing" Target="../drawings/vmlDrawing34.vml"/><Relationship Id="rId6" Type="http://schemas.openxmlformats.org/officeDocument/2006/relationships/tags" Target="../tags/tag57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56.xml"/><Relationship Id="rId15" Type="http://schemas.openxmlformats.org/officeDocument/2006/relationships/slide" Target="slide6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Industrial Strength Software Hacking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Simon McPartlin</a:t>
            </a:r>
          </a:p>
          <a:p>
            <a:r>
              <a:rPr lang="en-US" dirty="0" smtClean="0"/>
              <a:t>Berlin, December 3</a:t>
            </a:r>
            <a:r>
              <a:rPr lang="en-US" baseline="30000" dirty="0" smtClean="0"/>
              <a:t>rd</a:t>
            </a:r>
            <a:r>
              <a:rPr lang="en-US" smtClean="0"/>
              <a:t>, 2015</a:t>
            </a:r>
            <a:endParaRPr lang="en-US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5317316" y="4139514"/>
            <a:ext cx="2949178" cy="84015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2100"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793" y="5765196"/>
            <a:ext cx="2175933" cy="519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2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ing the target fun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ublic API function</a:t>
            </a:r>
          </a:p>
          <a:p>
            <a:r>
              <a:rPr lang="en-US" dirty="0" smtClean="0"/>
              <a:t>Search for candidate function(s)</a:t>
            </a:r>
          </a:p>
          <a:p>
            <a:pPr lvl="1"/>
            <a:r>
              <a:rPr lang="en-US" dirty="0" smtClean="0"/>
              <a:t>Disassemblers and debuggers</a:t>
            </a:r>
          </a:p>
          <a:p>
            <a:pPr lvl="1"/>
            <a:r>
              <a:rPr lang="en-US" dirty="0" smtClean="0"/>
              <a:t>Function entry/exit tracing</a:t>
            </a:r>
          </a:p>
          <a:p>
            <a:pPr lvl="1"/>
            <a:r>
              <a:rPr lang="en-US" dirty="0" smtClean="0"/>
              <a:t>Window sub-class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5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ing the target fun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11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16195"/>
              </p:ext>
            </p:extLst>
          </p:nvPr>
        </p:nvGraphicFramePr>
        <p:xfrm>
          <a:off x="2231759" y="1739162"/>
          <a:ext cx="4346022" cy="3255624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311465"/>
                <a:gridCol w="4034557"/>
              </a:tblGrid>
              <a:tr h="361736">
                <a:tc gridSpan="2"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all Stack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Name</a:t>
                      </a:r>
                      <a:endParaRPr lang="en-US" sz="16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BoldButtonHandler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nternFunctionE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nternFunctionD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nternFunctionC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nternFunctionB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b="0" dirty="0" err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InternFunctionA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  <a:tr h="361736">
                <a:tc>
                  <a:txBody>
                    <a:bodyPr/>
                    <a:lstStyle/>
                    <a:p>
                      <a:endParaRPr lang="en-US" sz="16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...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5720" marR="45720"/>
                </a:tc>
              </a:tr>
            </a:tbl>
          </a:graphicData>
        </a:graphic>
      </p:graphicFrame>
      <p:sp>
        <p:nvSpPr>
          <p:cNvPr id="12" name="Right Arrow 11"/>
          <p:cNvSpPr/>
          <p:nvPr/>
        </p:nvSpPr>
        <p:spPr>
          <a:xfrm>
            <a:off x="2357120" y="2534920"/>
            <a:ext cx="137160" cy="121920"/>
          </a:xfrm>
          <a:prstGeom prst="rightArrow">
            <a:avLst/>
          </a:prstGeom>
          <a:solidFill>
            <a:srgbClr val="FFFF00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840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ding the target fun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ported function</a:t>
            </a:r>
          </a:p>
          <a:p>
            <a:pPr lvl="1"/>
            <a:r>
              <a:rPr lang="en-US" dirty="0" smtClean="0"/>
              <a:t>OS call, e.g. </a:t>
            </a:r>
            <a:r>
              <a:rPr lang="en-US" dirty="0" err="1" smtClean="0"/>
              <a:t>GetProcAddress</a:t>
            </a:r>
            <a:endParaRPr lang="en-US" dirty="0" smtClean="0"/>
          </a:p>
          <a:p>
            <a:r>
              <a:rPr lang="en-US" dirty="0" smtClean="0"/>
              <a:t>Internal function</a:t>
            </a:r>
          </a:p>
          <a:p>
            <a:pPr lvl="1"/>
            <a:r>
              <a:rPr lang="en-US" dirty="0" smtClean="0"/>
              <a:t>Store target function address</a:t>
            </a:r>
          </a:p>
          <a:p>
            <a:pPr lvl="2"/>
            <a:r>
              <a:rPr lang="en-US" dirty="0" smtClean="0"/>
              <a:t>Only valid for particular build</a:t>
            </a:r>
          </a:p>
          <a:p>
            <a:pPr lvl="1"/>
            <a:r>
              <a:rPr lang="en-US" dirty="0" smtClean="0"/>
              <a:t>Search for the target fun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280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ding the target fun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arch for binary co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/>
        </p:nvSpPr>
        <p:spPr bwMode="auto">
          <a:xfrm>
            <a:off x="1123200" y="3265200"/>
            <a:ext cx="2610928" cy="2702942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,esp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	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,ecx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cm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word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ptr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[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],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jz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 don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1Bh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45DD3B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65345609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cx,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51286E4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on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op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retn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6" name="Text Placeholder 7"/>
          <p:cNvSpPr>
            <a:spLocks noGrp="1"/>
          </p:cNvSpPr>
          <p:nvPr/>
        </p:nvSpPr>
        <p:spPr bwMode="auto">
          <a:xfrm>
            <a:off x="4819275" y="3265200"/>
            <a:ext cx="1537563" cy="270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EC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6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F1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3 3E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74 13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A 1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09 10 00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8 09 56 34 6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C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26 C3 B4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C3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34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ding the target fun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duce size of binary code to mat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/>
        </p:nvSpPr>
        <p:spPr bwMode="auto">
          <a:xfrm>
            <a:off x="1123200" y="3265200"/>
            <a:ext cx="2610928" cy="2702942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,esp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	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,ecx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cm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word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ptr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[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],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jz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 don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1Bh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45DD3B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65345609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cx,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51286E4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on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op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retn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6" name="Text Placeholder 7"/>
          <p:cNvSpPr>
            <a:spLocks noGrp="1"/>
          </p:cNvSpPr>
          <p:nvPr/>
        </p:nvSpPr>
        <p:spPr bwMode="auto">
          <a:xfrm>
            <a:off x="1123200" y="3265200"/>
            <a:ext cx="2610928" cy="1693661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,esp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	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,ecx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cm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word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ptr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[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],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jz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 don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1Bh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45DD3B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65345609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cx,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51286E4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on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op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retn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/>
        </p:nvSpPr>
        <p:spPr bwMode="auto">
          <a:xfrm>
            <a:off x="4819275" y="3265200"/>
            <a:ext cx="1537563" cy="270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EC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6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F1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3 3E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74 13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A 1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09 10 00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8 09 56 34 6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C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26 C3 B4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C3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9" name="Text Placeholder 7"/>
          <p:cNvSpPr>
            <a:spLocks noGrp="1"/>
          </p:cNvSpPr>
          <p:nvPr/>
        </p:nvSpPr>
        <p:spPr bwMode="auto">
          <a:xfrm>
            <a:off x="4819275" y="3265200"/>
            <a:ext cx="1537563" cy="16936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EC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6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F1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3 3E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74 13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A 1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09 10 00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8 09 56 34 6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C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26 C3 B4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C3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670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8" grpId="0" animBg="1"/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804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7"/>
          <p:cNvSpPr>
            <a:spLocks noGrp="1"/>
          </p:cNvSpPr>
          <p:nvPr/>
        </p:nvSpPr>
        <p:spPr bwMode="auto">
          <a:xfrm>
            <a:off x="4820400" y="4793113"/>
            <a:ext cx="1537564" cy="163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17" name="Text Placeholder 7"/>
          <p:cNvSpPr>
            <a:spLocks noGrp="1"/>
          </p:cNvSpPr>
          <p:nvPr/>
        </p:nvSpPr>
        <p:spPr bwMode="auto">
          <a:xfrm>
            <a:off x="4820400" y="4410339"/>
            <a:ext cx="1537564" cy="214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14" name="Text Placeholder 7"/>
          <p:cNvSpPr>
            <a:spLocks noGrp="1"/>
          </p:cNvSpPr>
          <p:nvPr/>
        </p:nvSpPr>
        <p:spPr bwMode="auto">
          <a:xfrm>
            <a:off x="4820400" y="4035675"/>
            <a:ext cx="401141" cy="920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/>
        </p:nvSpPr>
        <p:spPr bwMode="auto">
          <a:xfrm>
            <a:off x="1123200" y="4035675"/>
            <a:ext cx="934761" cy="920713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11" name="Text Placeholder 7"/>
          <p:cNvSpPr>
            <a:spLocks noGrp="1"/>
          </p:cNvSpPr>
          <p:nvPr/>
        </p:nvSpPr>
        <p:spPr bwMode="auto">
          <a:xfrm>
            <a:off x="1123200" y="4410338"/>
            <a:ext cx="2610928" cy="214184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nding the target fun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artially defined instru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/>
        </p:nvSpPr>
        <p:spPr bwMode="auto">
          <a:xfrm>
            <a:off x="1123200" y="3265200"/>
            <a:ext cx="2610928" cy="1696459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,esp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	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,ecx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cm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word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ptr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[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],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jz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 don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1Bh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45DD3B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65345609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cx,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51286E4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on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op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retn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9" name="Text Placeholder 7"/>
          <p:cNvSpPr>
            <a:spLocks noGrp="1"/>
          </p:cNvSpPr>
          <p:nvPr/>
        </p:nvSpPr>
        <p:spPr bwMode="auto">
          <a:xfrm>
            <a:off x="1123200" y="4785001"/>
            <a:ext cx="2610928" cy="171387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10" name="Text Placeholder 7"/>
          <p:cNvSpPr>
            <a:spLocks noGrp="1"/>
          </p:cNvSpPr>
          <p:nvPr/>
        </p:nvSpPr>
        <p:spPr bwMode="auto">
          <a:xfrm>
            <a:off x="1123200" y="3265200"/>
            <a:ext cx="2610928" cy="976549"/>
          </a:xfrm>
          <a:prstGeom prst="rect">
            <a:avLst/>
          </a:prstGeom>
          <a:solidFill>
            <a:srgbClr val="C3CFE1"/>
          </a:solidFill>
          <a:ln w="19050">
            <a:noFill/>
          </a:ln>
        </p:spPr>
        <p:txBody>
          <a:bodyPr wrap="square" lIns="61913" tIns="61913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bp,esp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	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,ecx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cmp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word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ptr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[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],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jz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 don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1Bh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45DD3B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ush   65345609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mov</a:t>
            </a: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cx,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call   sub_451286E4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don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pop 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esi</a:t>
            </a: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  </a:t>
            </a:r>
            <a:r>
              <a:rPr lang="en-US" sz="1200" dirty="0" err="1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retn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12" name="Text Placeholder 7"/>
          <p:cNvSpPr>
            <a:spLocks noGrp="1"/>
          </p:cNvSpPr>
          <p:nvPr/>
        </p:nvSpPr>
        <p:spPr bwMode="auto">
          <a:xfrm>
            <a:off x="4820400" y="3265200"/>
            <a:ext cx="1537563" cy="16936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EC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6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F1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3 3E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74 13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A 1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09 10 00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8 09 56 34 6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C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26 C3 B4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C3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  <p:sp>
        <p:nvSpPr>
          <p:cNvPr id="13" name="Text Placeholder 7"/>
          <p:cNvSpPr>
            <a:spLocks noGrp="1"/>
          </p:cNvSpPr>
          <p:nvPr/>
        </p:nvSpPr>
        <p:spPr bwMode="auto">
          <a:xfrm>
            <a:off x="4820400" y="3265200"/>
            <a:ext cx="1537563" cy="9732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</p:spPr>
        <p:txBody>
          <a:bodyPr wrap="square" lIns="61913" tIns="61913" rIns="0" bIns="61913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EC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6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F1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3 3E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74 13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A 1B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09 10 00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68 09 56 34 65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8B C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E8 26 C3 B4 00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 smtClean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5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ourier New" panose="02070309020205020404" pitchFamily="49" charset="0"/>
                <a:ea typeface="FangSong" panose="02010609060101010101" pitchFamily="49" charset="-122"/>
                <a:cs typeface="Courier New" panose="02070309020205020404" pitchFamily="49" charset="0"/>
                <a:sym typeface="Calibri" panose="020F0502020204030204" pitchFamily="34" charset="0"/>
              </a:rPr>
              <a:t> C3</a:t>
            </a:r>
            <a:endParaRPr lang="en-US" sz="1200" dirty="0">
              <a:latin typeface="Courier New" panose="02070309020205020404" pitchFamily="49" charset="0"/>
              <a:ea typeface="FangSong" panose="02010609060101010101" pitchFamily="49" charset="-122"/>
              <a:cs typeface="Courier New" panose="02070309020205020404" pitchFamily="49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40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4" grpId="0" animBg="1"/>
      <p:bldP spid="8" grpId="0" animBg="1"/>
      <p:bldP spid="11" grpId="0" animBg="1"/>
      <p:bldP spid="7" grpId="0" animBg="1"/>
      <p:bldP spid="9" grpId="0" animBg="1"/>
      <p:bldP spid="10" grpId="0" animBg="1"/>
      <p:bldP spid="12" grpId="0" animBg="1"/>
      <p:bldP spid="1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522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7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Text Placeholder 8">
            <a:hlinkClick r:id="rId14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60488" y="14478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ase study: Interacting with PowerPoint</a:t>
            </a:r>
          </a:p>
        </p:txBody>
      </p:sp>
      <p:sp>
        <p:nvSpPr>
          <p:cNvPr id="50" name="Text Placeholder 8">
            <a:hlinkClick r:id="rId15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60488" y="2159000"/>
            <a:ext cx="6423025" cy="7127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unction Detouring</a:t>
            </a:r>
          </a:p>
        </p:txBody>
      </p:sp>
      <p:sp>
        <p:nvSpPr>
          <p:cNvPr id="45" name="Text Placeholder 8">
            <a:hlinkClick r:id="rId16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60488" y="2871788"/>
            <a:ext cx="6423025" cy="6080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0650" rIns="0" bIns="1206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requently </a:t>
            </a:r>
            <a:r>
              <a:rPr lang="en-US" smtClean="0"/>
              <a:t>asked questions</a:t>
            </a:r>
            <a:endParaRPr lang="en-US" dirty="0"/>
          </a:p>
        </p:txBody>
      </p:sp>
      <p:sp>
        <p:nvSpPr>
          <p:cNvPr id="30" name="Text Placeholder 8">
            <a:hlinkClick r:id="rId17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60488" y="3479800"/>
            <a:ext cx="6423025" cy="6096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inding the target function</a:t>
            </a:r>
            <a:endParaRPr lang="en-US" dirty="0"/>
          </a:p>
        </p:txBody>
      </p:sp>
      <p:sp>
        <p:nvSpPr>
          <p:cNvPr id="60" name="Text Placeholder 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60488" y="4089400"/>
            <a:ext cx="6423025" cy="6096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unction </a:t>
            </a:r>
            <a:r>
              <a:rPr lang="en-US" b="1" smtClean="0"/>
              <a:t>detouring framework</a:t>
            </a:r>
            <a:endParaRPr lang="en-US" b="1" dirty="0"/>
          </a:p>
        </p:txBody>
      </p:sp>
      <p:sp>
        <p:nvSpPr>
          <p:cNvPr id="46" name="Text Placeholder 8">
            <a:hlinkClick r:id="rId18" action="ppaction://hlinksldjump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60488" y="46990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Detouring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51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 detouring fram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atch the target function start</a:t>
            </a:r>
          </a:p>
          <a:p>
            <a:r>
              <a:rPr lang="en-US" dirty="0" smtClean="0"/>
              <a:t>Make the original target function code available</a:t>
            </a:r>
          </a:p>
          <a:p>
            <a:r>
              <a:rPr lang="en-US" dirty="0" smtClean="0"/>
              <a:t>As robust as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202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3908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24"/>
          <p:cNvSpPr/>
          <p:nvPr/>
        </p:nvSpPr>
        <p:spPr>
          <a:xfrm>
            <a:off x="628650" y="1918800"/>
            <a:ext cx="381000" cy="1299210"/>
          </a:xfrm>
          <a:custGeom>
            <a:avLst/>
            <a:gdLst>
              <a:gd name="connsiteX0" fmla="*/ 381000 w 381000"/>
              <a:gd name="connsiteY0" fmla="*/ 0 h 1303020"/>
              <a:gd name="connsiteX1" fmla="*/ 0 w 381000"/>
              <a:gd name="connsiteY1" fmla="*/ 0 h 1303020"/>
              <a:gd name="connsiteX2" fmla="*/ 0 w 381000"/>
              <a:gd name="connsiteY2" fmla="*/ 1303020 h 1303020"/>
              <a:gd name="connsiteX3" fmla="*/ 381000 w 381000"/>
              <a:gd name="connsiteY3" fmla="*/ 1303020 h 1303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000" h="1303020">
                <a:moveTo>
                  <a:pt x="381000" y="0"/>
                </a:moveTo>
                <a:lnTo>
                  <a:pt x="0" y="0"/>
                </a:lnTo>
                <a:lnTo>
                  <a:pt x="0" y="1303020"/>
                </a:lnTo>
                <a:lnTo>
                  <a:pt x="381000" y="13030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 detouring frame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18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09780" y="3070800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cx</a:t>
            </a:r>
            <a:r>
              <a:rPr lang="en-US" sz="1200" dirty="0">
                <a:latin typeface="Courier New" panose="02070309020205020404" pitchFamily="49" charset="0"/>
                <a:cs typeface="Courier New" panose="02070309020205020404" pitchFamily="49" charset="0"/>
              </a:rPr>
              <a:t>,[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esp+8]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c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[esp+0Ch]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09780" y="2761200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09780" y="1602000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 </a:t>
            </a:r>
          </a:p>
        </p:txBody>
      </p:sp>
      <p:sp>
        <p:nvSpPr>
          <p:cNvPr id="83" name="Freeform 82"/>
          <p:cNvSpPr/>
          <p:nvPr/>
        </p:nvSpPr>
        <p:spPr>
          <a:xfrm>
            <a:off x="1976120" y="2145600"/>
            <a:ext cx="1564640" cy="1978788"/>
          </a:xfrm>
          <a:custGeom>
            <a:avLst/>
            <a:gdLst>
              <a:gd name="connsiteX0" fmla="*/ 0 w 1549400"/>
              <a:gd name="connsiteY0" fmla="*/ 1762760 h 1991360"/>
              <a:gd name="connsiteX1" fmla="*/ 0 w 1549400"/>
              <a:gd name="connsiteY1" fmla="*/ 1991360 h 1991360"/>
              <a:gd name="connsiteX2" fmla="*/ 1549400 w 1549400"/>
              <a:gd name="connsiteY2" fmla="*/ 1991360 h 1991360"/>
              <a:gd name="connsiteX3" fmla="*/ 1549400 w 1549400"/>
              <a:gd name="connsiteY3" fmla="*/ 0 h 1991360"/>
              <a:gd name="connsiteX4" fmla="*/ 1214120 w 1549400"/>
              <a:gd name="connsiteY4" fmla="*/ 0 h 1991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9400" h="1991360">
                <a:moveTo>
                  <a:pt x="0" y="1762760"/>
                </a:moveTo>
                <a:lnTo>
                  <a:pt x="0" y="1991360"/>
                </a:lnTo>
                <a:lnTo>
                  <a:pt x="1549400" y="1991360"/>
                </a:lnTo>
                <a:lnTo>
                  <a:pt x="1549400" y="0"/>
                </a:lnTo>
                <a:lnTo>
                  <a:pt x="121412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774177" y="3070800"/>
            <a:ext cx="2188800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74177" y="2761200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299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16" grpId="0" animBg="1"/>
      <p:bldP spid="83" grpId="0" animBg="1"/>
      <p:bldP spid="14" grpId="0" animBg="1"/>
      <p:bldP spid="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428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detouring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19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09780" y="3068947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c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[esp+0Ch]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09780" y="2761170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09780" y="1602000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 </a:t>
            </a:r>
          </a:p>
        </p:txBody>
      </p:sp>
      <p:sp>
        <p:nvSpPr>
          <p:cNvPr id="25" name="Freeform 24"/>
          <p:cNvSpPr/>
          <p:nvPr/>
        </p:nvSpPr>
        <p:spPr>
          <a:xfrm>
            <a:off x="628650" y="1916403"/>
            <a:ext cx="381000" cy="1299210"/>
          </a:xfrm>
          <a:custGeom>
            <a:avLst/>
            <a:gdLst>
              <a:gd name="connsiteX0" fmla="*/ 381000 w 381000"/>
              <a:gd name="connsiteY0" fmla="*/ 0 h 1303020"/>
              <a:gd name="connsiteX1" fmla="*/ 0 w 381000"/>
              <a:gd name="connsiteY1" fmla="*/ 0 h 1303020"/>
              <a:gd name="connsiteX2" fmla="*/ 0 w 381000"/>
              <a:gd name="connsiteY2" fmla="*/ 1303020 h 1303020"/>
              <a:gd name="connsiteX3" fmla="*/ 381000 w 381000"/>
              <a:gd name="connsiteY3" fmla="*/ 1303020 h 1303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000" h="1303020">
                <a:moveTo>
                  <a:pt x="381000" y="0"/>
                </a:moveTo>
                <a:lnTo>
                  <a:pt x="0" y="0"/>
                </a:lnTo>
                <a:lnTo>
                  <a:pt x="0" y="1303020"/>
                </a:lnTo>
                <a:lnTo>
                  <a:pt x="381000" y="13030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Freeform 80"/>
          <p:cNvSpPr/>
          <p:nvPr/>
        </p:nvSpPr>
        <p:spPr>
          <a:xfrm>
            <a:off x="3205480" y="2144924"/>
            <a:ext cx="3982720" cy="1846708"/>
          </a:xfrm>
          <a:custGeom>
            <a:avLst/>
            <a:gdLst>
              <a:gd name="connsiteX0" fmla="*/ 2672080 w 3982720"/>
              <a:gd name="connsiteY0" fmla="*/ 1529080 h 1605280"/>
              <a:gd name="connsiteX1" fmla="*/ 2672080 w 3982720"/>
              <a:gd name="connsiteY1" fmla="*/ 1605280 h 1605280"/>
              <a:gd name="connsiteX2" fmla="*/ 3982720 w 3982720"/>
              <a:gd name="connsiteY2" fmla="*/ 1605280 h 1605280"/>
              <a:gd name="connsiteX3" fmla="*/ 3982720 w 3982720"/>
              <a:gd name="connsiteY3" fmla="*/ 0 h 1605280"/>
              <a:gd name="connsiteX4" fmla="*/ 0 w 3982720"/>
              <a:gd name="connsiteY4" fmla="*/ 0 h 1605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2720" h="1605280">
                <a:moveTo>
                  <a:pt x="2672080" y="1529080"/>
                </a:moveTo>
                <a:lnTo>
                  <a:pt x="2672080" y="1605280"/>
                </a:lnTo>
                <a:lnTo>
                  <a:pt x="3982720" y="1605280"/>
                </a:lnTo>
                <a:lnTo>
                  <a:pt x="398272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774177" y="3068947"/>
            <a:ext cx="2188800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74177" y="2761169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3205480" y="3215613"/>
            <a:ext cx="1577559" cy="0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74373" y="4418540"/>
            <a:ext cx="2186838" cy="276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a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esp+8</a:t>
            </a:r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  <a:endParaRPr lang="en-US" sz="1200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774177" y="4418540"/>
            <a:ext cx="2186838" cy="46166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a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esp+8]</a:t>
            </a:r>
          </a:p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argetFunction+5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774177" y="4110763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iginalFunction</a:t>
            </a:r>
            <a:endParaRPr lang="en-US" sz="1200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74177" y="3068278"/>
            <a:ext cx="2188800" cy="83099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iginal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7" name="Freeform 6"/>
          <p:cNvSpPr/>
          <p:nvPr/>
        </p:nvSpPr>
        <p:spPr>
          <a:xfrm>
            <a:off x="4526280" y="3392192"/>
            <a:ext cx="254000" cy="1163320"/>
          </a:xfrm>
          <a:custGeom>
            <a:avLst/>
            <a:gdLst>
              <a:gd name="connsiteX0" fmla="*/ 248920 w 254000"/>
              <a:gd name="connsiteY0" fmla="*/ 0 h 1163320"/>
              <a:gd name="connsiteX1" fmla="*/ 0 w 254000"/>
              <a:gd name="connsiteY1" fmla="*/ 0 h 1163320"/>
              <a:gd name="connsiteX2" fmla="*/ 0 w 254000"/>
              <a:gd name="connsiteY2" fmla="*/ 1163320 h 1163320"/>
              <a:gd name="connsiteX3" fmla="*/ 254000 w 254000"/>
              <a:gd name="connsiteY3" fmla="*/ 1163320 h 1163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0" h="1163320">
                <a:moveTo>
                  <a:pt x="248920" y="0"/>
                </a:moveTo>
                <a:lnTo>
                  <a:pt x="0" y="0"/>
                </a:lnTo>
                <a:lnTo>
                  <a:pt x="0" y="1163320"/>
                </a:lnTo>
                <a:lnTo>
                  <a:pt x="254000" y="11633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629920" y="3382032"/>
            <a:ext cx="4145280" cy="1351280"/>
          </a:xfrm>
          <a:custGeom>
            <a:avLst/>
            <a:gdLst>
              <a:gd name="connsiteX0" fmla="*/ 4145280 w 4145280"/>
              <a:gd name="connsiteY0" fmla="*/ 1351280 h 1351280"/>
              <a:gd name="connsiteX1" fmla="*/ 0 w 4145280"/>
              <a:gd name="connsiteY1" fmla="*/ 1351280 h 1351280"/>
              <a:gd name="connsiteX2" fmla="*/ 0 w 4145280"/>
              <a:gd name="connsiteY2" fmla="*/ 0 h 1351280"/>
              <a:gd name="connsiteX3" fmla="*/ 381000 w 4145280"/>
              <a:gd name="connsiteY3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5280" h="1351280">
                <a:moveTo>
                  <a:pt x="4145280" y="1351280"/>
                </a:moveTo>
                <a:lnTo>
                  <a:pt x="0" y="1351280"/>
                </a:lnTo>
                <a:lnTo>
                  <a:pt x="0" y="0"/>
                </a:lnTo>
                <a:lnTo>
                  <a:pt x="38100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0"/>
          <p:cNvSpPr/>
          <p:nvPr/>
        </p:nvSpPr>
        <p:spPr>
          <a:xfrm>
            <a:off x="1976120" y="3561080"/>
            <a:ext cx="2799080" cy="579120"/>
          </a:xfrm>
          <a:custGeom>
            <a:avLst/>
            <a:gdLst>
              <a:gd name="connsiteX0" fmla="*/ 0 w 2799080"/>
              <a:gd name="connsiteY0" fmla="*/ 335280 h 579120"/>
              <a:gd name="connsiteX1" fmla="*/ 0 w 2799080"/>
              <a:gd name="connsiteY1" fmla="*/ 579120 h 579120"/>
              <a:gd name="connsiteX2" fmla="*/ 1889760 w 2799080"/>
              <a:gd name="connsiteY2" fmla="*/ 579120 h 579120"/>
              <a:gd name="connsiteX3" fmla="*/ 1889760 w 2799080"/>
              <a:gd name="connsiteY3" fmla="*/ 0 h 579120"/>
              <a:gd name="connsiteX4" fmla="*/ 2799080 w 2799080"/>
              <a:gd name="connsiteY4" fmla="*/ 0 h 57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99080" h="579120">
                <a:moveTo>
                  <a:pt x="0" y="335280"/>
                </a:moveTo>
                <a:lnTo>
                  <a:pt x="0" y="579120"/>
                </a:lnTo>
                <a:lnTo>
                  <a:pt x="1889760" y="579120"/>
                </a:lnTo>
                <a:lnTo>
                  <a:pt x="1889760" y="0"/>
                </a:lnTo>
                <a:lnTo>
                  <a:pt x="279908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732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28" grpId="0" animBg="1"/>
      <p:bldP spid="29" grpId="0" animBg="1"/>
      <p:bldP spid="30" grpId="0" animBg="1"/>
      <p:bldP spid="7" grpId="0" animBg="1"/>
      <p:bldP spid="8" grpId="0" animBg="1"/>
      <p:bldP spid="2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251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05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Text Placeholder 8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60488" y="2362200"/>
            <a:ext cx="6423025" cy="7112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/>
              <a:t>Case study: Interacting with PowerPoint</a:t>
            </a:r>
          </a:p>
        </p:txBody>
      </p:sp>
      <p:sp>
        <p:nvSpPr>
          <p:cNvPr id="36" name="Text Placeholder 8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60488" y="30734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unction Detouring</a:t>
            </a:r>
          </a:p>
        </p:txBody>
      </p:sp>
      <p:sp>
        <p:nvSpPr>
          <p:cNvPr id="33" name="Text Placeholder 8">
            <a:hlinkClick r:id="rId12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60488" y="37846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Detouring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08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032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009780" y="3068947"/>
            <a:ext cx="2186838" cy="83099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Stub</a:t>
            </a:r>
            <a:endParaRPr lang="en-US" sz="1200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c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[esp+0Ch]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detouring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20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009780" y="2761170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09780" y="1602000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 </a:t>
            </a:r>
          </a:p>
        </p:txBody>
      </p:sp>
      <p:sp>
        <p:nvSpPr>
          <p:cNvPr id="25" name="Freeform 24"/>
          <p:cNvSpPr/>
          <p:nvPr/>
        </p:nvSpPr>
        <p:spPr>
          <a:xfrm>
            <a:off x="628650" y="1916403"/>
            <a:ext cx="381000" cy="1299210"/>
          </a:xfrm>
          <a:custGeom>
            <a:avLst/>
            <a:gdLst>
              <a:gd name="connsiteX0" fmla="*/ 381000 w 381000"/>
              <a:gd name="connsiteY0" fmla="*/ 0 h 1303020"/>
              <a:gd name="connsiteX1" fmla="*/ 0 w 381000"/>
              <a:gd name="connsiteY1" fmla="*/ 0 h 1303020"/>
              <a:gd name="connsiteX2" fmla="*/ 0 w 381000"/>
              <a:gd name="connsiteY2" fmla="*/ 1303020 h 1303020"/>
              <a:gd name="connsiteX3" fmla="*/ 381000 w 381000"/>
              <a:gd name="connsiteY3" fmla="*/ 1303020 h 1303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000" h="1303020">
                <a:moveTo>
                  <a:pt x="381000" y="0"/>
                </a:moveTo>
                <a:lnTo>
                  <a:pt x="0" y="0"/>
                </a:lnTo>
                <a:lnTo>
                  <a:pt x="0" y="1303020"/>
                </a:lnTo>
                <a:lnTo>
                  <a:pt x="381000" y="13030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774177" y="3068947"/>
            <a:ext cx="2188800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74177" y="2761169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774177" y="4418540"/>
            <a:ext cx="2186838" cy="46166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a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esp+8]</a:t>
            </a:r>
          </a:p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argetFunction+5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774177" y="4110763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iginalFunction</a:t>
            </a:r>
            <a:endParaRPr lang="en-US" sz="1200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74177" y="3068278"/>
            <a:ext cx="2188800" cy="83099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iginal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7" name="Freeform 6"/>
          <p:cNvSpPr/>
          <p:nvPr/>
        </p:nvSpPr>
        <p:spPr>
          <a:xfrm>
            <a:off x="4526280" y="3392192"/>
            <a:ext cx="254000" cy="1163320"/>
          </a:xfrm>
          <a:custGeom>
            <a:avLst/>
            <a:gdLst>
              <a:gd name="connsiteX0" fmla="*/ 248920 w 254000"/>
              <a:gd name="connsiteY0" fmla="*/ 0 h 1163320"/>
              <a:gd name="connsiteX1" fmla="*/ 0 w 254000"/>
              <a:gd name="connsiteY1" fmla="*/ 0 h 1163320"/>
              <a:gd name="connsiteX2" fmla="*/ 0 w 254000"/>
              <a:gd name="connsiteY2" fmla="*/ 1163320 h 1163320"/>
              <a:gd name="connsiteX3" fmla="*/ 254000 w 254000"/>
              <a:gd name="connsiteY3" fmla="*/ 1163320 h 1163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0" h="1163320">
                <a:moveTo>
                  <a:pt x="248920" y="0"/>
                </a:moveTo>
                <a:lnTo>
                  <a:pt x="0" y="0"/>
                </a:lnTo>
                <a:lnTo>
                  <a:pt x="0" y="1163320"/>
                </a:lnTo>
                <a:lnTo>
                  <a:pt x="254000" y="11633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629920" y="3382032"/>
            <a:ext cx="4145280" cy="1351280"/>
          </a:xfrm>
          <a:custGeom>
            <a:avLst/>
            <a:gdLst>
              <a:gd name="connsiteX0" fmla="*/ 4145280 w 4145280"/>
              <a:gd name="connsiteY0" fmla="*/ 1351280 h 1351280"/>
              <a:gd name="connsiteX1" fmla="*/ 0 w 4145280"/>
              <a:gd name="connsiteY1" fmla="*/ 1351280 h 1351280"/>
              <a:gd name="connsiteX2" fmla="*/ 0 w 4145280"/>
              <a:gd name="connsiteY2" fmla="*/ 0 h 1351280"/>
              <a:gd name="connsiteX3" fmla="*/ 381000 w 4145280"/>
              <a:gd name="connsiteY3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5280" h="1351280">
                <a:moveTo>
                  <a:pt x="4145280" y="1351280"/>
                </a:moveTo>
                <a:lnTo>
                  <a:pt x="0" y="1351280"/>
                </a:lnTo>
                <a:lnTo>
                  <a:pt x="0" y="0"/>
                </a:lnTo>
                <a:lnTo>
                  <a:pt x="38100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4783039" y="1811141"/>
            <a:ext cx="2188800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b="1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83039" y="1503363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Stub</a:t>
            </a:r>
            <a:endParaRPr lang="en-US" sz="1200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3200400" y="1932940"/>
            <a:ext cx="1590040" cy="1277619"/>
          </a:xfrm>
          <a:custGeom>
            <a:avLst/>
            <a:gdLst>
              <a:gd name="connsiteX0" fmla="*/ 0 w 1590040"/>
              <a:gd name="connsiteY0" fmla="*/ 1447800 h 1447800"/>
              <a:gd name="connsiteX1" fmla="*/ 1107440 w 1590040"/>
              <a:gd name="connsiteY1" fmla="*/ 1447800 h 1447800"/>
              <a:gd name="connsiteX2" fmla="*/ 1107440 w 1590040"/>
              <a:gd name="connsiteY2" fmla="*/ 0 h 1447800"/>
              <a:gd name="connsiteX3" fmla="*/ 1590040 w 1590040"/>
              <a:gd name="connsiteY3" fmla="*/ 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0040" h="1447800">
                <a:moveTo>
                  <a:pt x="0" y="1447800"/>
                </a:moveTo>
                <a:lnTo>
                  <a:pt x="1107440" y="1447800"/>
                </a:lnTo>
                <a:lnTo>
                  <a:pt x="1107440" y="0"/>
                </a:lnTo>
                <a:lnTo>
                  <a:pt x="159004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/>
          <p:cNvSpPr/>
          <p:nvPr/>
        </p:nvSpPr>
        <p:spPr>
          <a:xfrm>
            <a:off x="3190240" y="2159000"/>
            <a:ext cx="2626360" cy="441960"/>
          </a:xfrm>
          <a:custGeom>
            <a:avLst/>
            <a:gdLst>
              <a:gd name="connsiteX0" fmla="*/ 2626360 w 2626360"/>
              <a:gd name="connsiteY0" fmla="*/ 299720 h 441960"/>
              <a:gd name="connsiteX1" fmla="*/ 2626360 w 2626360"/>
              <a:gd name="connsiteY1" fmla="*/ 441960 h 441960"/>
              <a:gd name="connsiteX2" fmla="*/ 650240 w 2626360"/>
              <a:gd name="connsiteY2" fmla="*/ 441960 h 441960"/>
              <a:gd name="connsiteX3" fmla="*/ 650240 w 2626360"/>
              <a:gd name="connsiteY3" fmla="*/ 0 h 441960"/>
              <a:gd name="connsiteX4" fmla="*/ 0 w 2626360"/>
              <a:gd name="connsiteY4" fmla="*/ 0 h 441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6360" h="441960">
                <a:moveTo>
                  <a:pt x="2626360" y="299720"/>
                </a:moveTo>
                <a:lnTo>
                  <a:pt x="2626360" y="441960"/>
                </a:lnTo>
                <a:lnTo>
                  <a:pt x="650240" y="441960"/>
                </a:lnTo>
                <a:lnTo>
                  <a:pt x="65024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5877560" y="2291080"/>
            <a:ext cx="1315720" cy="1706880"/>
          </a:xfrm>
          <a:custGeom>
            <a:avLst/>
            <a:gdLst>
              <a:gd name="connsiteX0" fmla="*/ 0 w 1315720"/>
              <a:gd name="connsiteY0" fmla="*/ 1762760 h 1854200"/>
              <a:gd name="connsiteX1" fmla="*/ 0 w 1315720"/>
              <a:gd name="connsiteY1" fmla="*/ 1854200 h 1854200"/>
              <a:gd name="connsiteX2" fmla="*/ 1315720 w 1315720"/>
              <a:gd name="connsiteY2" fmla="*/ 1854200 h 1854200"/>
              <a:gd name="connsiteX3" fmla="*/ 1315720 w 1315720"/>
              <a:gd name="connsiteY3" fmla="*/ 0 h 1854200"/>
              <a:gd name="connsiteX4" fmla="*/ 1092200 w 1315720"/>
              <a:gd name="connsiteY4" fmla="*/ 0 h 1854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5720" h="1854200">
                <a:moveTo>
                  <a:pt x="0" y="1762760"/>
                </a:moveTo>
                <a:lnTo>
                  <a:pt x="0" y="1854200"/>
                </a:lnTo>
                <a:lnTo>
                  <a:pt x="1315720" y="1854200"/>
                </a:lnTo>
                <a:lnTo>
                  <a:pt x="1315720" y="0"/>
                </a:lnTo>
                <a:lnTo>
                  <a:pt x="109220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 26"/>
          <p:cNvSpPr/>
          <p:nvPr/>
        </p:nvSpPr>
        <p:spPr>
          <a:xfrm>
            <a:off x="4526280" y="2143760"/>
            <a:ext cx="254000" cy="1066799"/>
          </a:xfrm>
          <a:custGeom>
            <a:avLst/>
            <a:gdLst>
              <a:gd name="connsiteX0" fmla="*/ 269240 w 269240"/>
              <a:gd name="connsiteY0" fmla="*/ 0 h 1264920"/>
              <a:gd name="connsiteX1" fmla="*/ 0 w 269240"/>
              <a:gd name="connsiteY1" fmla="*/ 0 h 1264920"/>
              <a:gd name="connsiteX2" fmla="*/ 0 w 269240"/>
              <a:gd name="connsiteY2" fmla="*/ 1264920 h 1264920"/>
              <a:gd name="connsiteX3" fmla="*/ 264160 w 269240"/>
              <a:gd name="connsiteY3" fmla="*/ 1264920 h 126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240" h="1264920">
                <a:moveTo>
                  <a:pt x="269240" y="0"/>
                </a:moveTo>
                <a:lnTo>
                  <a:pt x="0" y="0"/>
                </a:lnTo>
                <a:lnTo>
                  <a:pt x="0" y="1264920"/>
                </a:lnTo>
                <a:lnTo>
                  <a:pt x="264160" y="12649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2"/>
          <p:cNvSpPr/>
          <p:nvPr/>
        </p:nvSpPr>
        <p:spPr>
          <a:xfrm>
            <a:off x="1976120" y="3561080"/>
            <a:ext cx="2799080" cy="579120"/>
          </a:xfrm>
          <a:custGeom>
            <a:avLst/>
            <a:gdLst>
              <a:gd name="connsiteX0" fmla="*/ 0 w 2799080"/>
              <a:gd name="connsiteY0" fmla="*/ 335280 h 579120"/>
              <a:gd name="connsiteX1" fmla="*/ 0 w 2799080"/>
              <a:gd name="connsiteY1" fmla="*/ 579120 h 579120"/>
              <a:gd name="connsiteX2" fmla="*/ 1889760 w 2799080"/>
              <a:gd name="connsiteY2" fmla="*/ 579120 h 579120"/>
              <a:gd name="connsiteX3" fmla="*/ 1889760 w 2799080"/>
              <a:gd name="connsiteY3" fmla="*/ 0 h 579120"/>
              <a:gd name="connsiteX4" fmla="*/ 2799080 w 2799080"/>
              <a:gd name="connsiteY4" fmla="*/ 0 h 57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99080" h="579120">
                <a:moveTo>
                  <a:pt x="0" y="335280"/>
                </a:moveTo>
                <a:lnTo>
                  <a:pt x="0" y="579120"/>
                </a:lnTo>
                <a:lnTo>
                  <a:pt x="1889760" y="579120"/>
                </a:lnTo>
                <a:lnTo>
                  <a:pt x="1889760" y="0"/>
                </a:lnTo>
                <a:lnTo>
                  <a:pt x="279908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886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428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ction detouring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21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09780" y="3070195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Stub</a:t>
            </a:r>
            <a:endParaRPr lang="en-US" sz="1200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ecx</a:t>
            </a:r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,[esp+0Ch]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endParaRPr lang="en-US" sz="12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09780" y="2762418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09780" y="1603248"/>
            <a:ext cx="2186838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Target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 </a:t>
            </a:r>
          </a:p>
        </p:txBody>
      </p:sp>
      <p:sp>
        <p:nvSpPr>
          <p:cNvPr id="25" name="Freeform 24"/>
          <p:cNvSpPr/>
          <p:nvPr/>
        </p:nvSpPr>
        <p:spPr>
          <a:xfrm>
            <a:off x="628650" y="1917651"/>
            <a:ext cx="381000" cy="1299210"/>
          </a:xfrm>
          <a:custGeom>
            <a:avLst/>
            <a:gdLst>
              <a:gd name="connsiteX0" fmla="*/ 381000 w 381000"/>
              <a:gd name="connsiteY0" fmla="*/ 0 h 1303020"/>
              <a:gd name="connsiteX1" fmla="*/ 0 w 381000"/>
              <a:gd name="connsiteY1" fmla="*/ 0 h 1303020"/>
              <a:gd name="connsiteX2" fmla="*/ 0 w 381000"/>
              <a:gd name="connsiteY2" fmla="*/ 1303020 h 1303020"/>
              <a:gd name="connsiteX3" fmla="*/ 381000 w 381000"/>
              <a:gd name="connsiteY3" fmla="*/ 1303020 h 1303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000" h="1303020">
                <a:moveTo>
                  <a:pt x="381000" y="0"/>
                </a:moveTo>
                <a:lnTo>
                  <a:pt x="0" y="0"/>
                </a:lnTo>
                <a:lnTo>
                  <a:pt x="0" y="1303020"/>
                </a:lnTo>
                <a:lnTo>
                  <a:pt x="381000" y="13030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774177" y="3070195"/>
            <a:ext cx="2188800" cy="83099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riginalStub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74177" y="2762417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774177" y="4419788"/>
            <a:ext cx="2186838" cy="46166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ovz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ax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[esp+8]</a:t>
            </a:r>
          </a:p>
          <a:p>
            <a:r>
              <a:rPr lang="en-US" sz="1200" b="1" dirty="0" err="1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200" b="1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argetFunction+5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774177" y="4112011"/>
            <a:ext cx="2186838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iginalFunction</a:t>
            </a:r>
            <a:endParaRPr lang="en-US" sz="1200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29920" y="3383280"/>
            <a:ext cx="4145280" cy="1351280"/>
          </a:xfrm>
          <a:custGeom>
            <a:avLst/>
            <a:gdLst>
              <a:gd name="connsiteX0" fmla="*/ 4145280 w 4145280"/>
              <a:gd name="connsiteY0" fmla="*/ 1351280 h 1351280"/>
              <a:gd name="connsiteX1" fmla="*/ 0 w 4145280"/>
              <a:gd name="connsiteY1" fmla="*/ 1351280 h 1351280"/>
              <a:gd name="connsiteX2" fmla="*/ 0 w 4145280"/>
              <a:gd name="connsiteY2" fmla="*/ 0 h 1351280"/>
              <a:gd name="connsiteX3" fmla="*/ 381000 w 4145280"/>
              <a:gd name="connsiteY3" fmla="*/ 0 h 135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5280" h="1351280">
                <a:moveTo>
                  <a:pt x="4145280" y="1351280"/>
                </a:moveTo>
                <a:lnTo>
                  <a:pt x="0" y="1351280"/>
                </a:lnTo>
                <a:lnTo>
                  <a:pt x="0" y="0"/>
                </a:lnTo>
                <a:lnTo>
                  <a:pt x="38100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4783039" y="1811141"/>
            <a:ext cx="2188800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Function</a:t>
            </a:r>
            <a:endParaRPr lang="en-US" sz="1200" b="1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783039" y="1503363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tourStub</a:t>
            </a:r>
            <a:endParaRPr lang="en-US" sz="1200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5877560" y="2291080"/>
            <a:ext cx="1315720" cy="1706880"/>
          </a:xfrm>
          <a:custGeom>
            <a:avLst/>
            <a:gdLst>
              <a:gd name="connsiteX0" fmla="*/ 0 w 1315720"/>
              <a:gd name="connsiteY0" fmla="*/ 1762760 h 1854200"/>
              <a:gd name="connsiteX1" fmla="*/ 0 w 1315720"/>
              <a:gd name="connsiteY1" fmla="*/ 1854200 h 1854200"/>
              <a:gd name="connsiteX2" fmla="*/ 1315720 w 1315720"/>
              <a:gd name="connsiteY2" fmla="*/ 1854200 h 1854200"/>
              <a:gd name="connsiteX3" fmla="*/ 1315720 w 1315720"/>
              <a:gd name="connsiteY3" fmla="*/ 0 h 1854200"/>
              <a:gd name="connsiteX4" fmla="*/ 1092200 w 1315720"/>
              <a:gd name="connsiteY4" fmla="*/ 0 h 1854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15720" h="1854200">
                <a:moveTo>
                  <a:pt x="0" y="1762760"/>
                </a:moveTo>
                <a:lnTo>
                  <a:pt x="0" y="1854200"/>
                </a:lnTo>
                <a:lnTo>
                  <a:pt x="1315720" y="1854200"/>
                </a:lnTo>
                <a:lnTo>
                  <a:pt x="1315720" y="0"/>
                </a:lnTo>
                <a:lnTo>
                  <a:pt x="109220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>
          <a:xfrm>
            <a:off x="4526280" y="2143760"/>
            <a:ext cx="254000" cy="1066799"/>
          </a:xfrm>
          <a:custGeom>
            <a:avLst/>
            <a:gdLst>
              <a:gd name="connsiteX0" fmla="*/ 269240 w 269240"/>
              <a:gd name="connsiteY0" fmla="*/ 0 h 1264920"/>
              <a:gd name="connsiteX1" fmla="*/ 0 w 269240"/>
              <a:gd name="connsiteY1" fmla="*/ 0 h 1264920"/>
              <a:gd name="connsiteX2" fmla="*/ 0 w 269240"/>
              <a:gd name="connsiteY2" fmla="*/ 1264920 h 1264920"/>
              <a:gd name="connsiteX3" fmla="*/ 264160 w 269240"/>
              <a:gd name="connsiteY3" fmla="*/ 1264920 h 1264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240" h="1264920">
                <a:moveTo>
                  <a:pt x="269240" y="0"/>
                </a:moveTo>
                <a:lnTo>
                  <a:pt x="0" y="0"/>
                </a:lnTo>
                <a:lnTo>
                  <a:pt x="0" y="1264920"/>
                </a:lnTo>
                <a:lnTo>
                  <a:pt x="264160" y="12649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/>
          <p:nvPr/>
        </p:nvSpPr>
        <p:spPr>
          <a:xfrm>
            <a:off x="3200400" y="1932940"/>
            <a:ext cx="1590040" cy="1277619"/>
          </a:xfrm>
          <a:custGeom>
            <a:avLst/>
            <a:gdLst>
              <a:gd name="connsiteX0" fmla="*/ 0 w 1590040"/>
              <a:gd name="connsiteY0" fmla="*/ 1447800 h 1447800"/>
              <a:gd name="connsiteX1" fmla="*/ 1107440 w 1590040"/>
              <a:gd name="connsiteY1" fmla="*/ 1447800 h 1447800"/>
              <a:gd name="connsiteX2" fmla="*/ 1107440 w 1590040"/>
              <a:gd name="connsiteY2" fmla="*/ 0 h 1447800"/>
              <a:gd name="connsiteX3" fmla="*/ 1590040 w 1590040"/>
              <a:gd name="connsiteY3" fmla="*/ 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90040" h="1447800">
                <a:moveTo>
                  <a:pt x="0" y="1447800"/>
                </a:moveTo>
                <a:lnTo>
                  <a:pt x="1107440" y="1447800"/>
                </a:lnTo>
                <a:lnTo>
                  <a:pt x="1107440" y="0"/>
                </a:lnTo>
                <a:lnTo>
                  <a:pt x="159004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>
            <a:off x="3190240" y="2159000"/>
            <a:ext cx="2626360" cy="441960"/>
          </a:xfrm>
          <a:custGeom>
            <a:avLst/>
            <a:gdLst>
              <a:gd name="connsiteX0" fmla="*/ 2626360 w 2626360"/>
              <a:gd name="connsiteY0" fmla="*/ 299720 h 441960"/>
              <a:gd name="connsiteX1" fmla="*/ 2626360 w 2626360"/>
              <a:gd name="connsiteY1" fmla="*/ 441960 h 441960"/>
              <a:gd name="connsiteX2" fmla="*/ 650240 w 2626360"/>
              <a:gd name="connsiteY2" fmla="*/ 441960 h 441960"/>
              <a:gd name="connsiteX3" fmla="*/ 650240 w 2626360"/>
              <a:gd name="connsiteY3" fmla="*/ 0 h 441960"/>
              <a:gd name="connsiteX4" fmla="*/ 0 w 2626360"/>
              <a:gd name="connsiteY4" fmla="*/ 0 h 441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6360" h="441960">
                <a:moveTo>
                  <a:pt x="2626360" y="299720"/>
                </a:moveTo>
                <a:lnTo>
                  <a:pt x="2626360" y="441960"/>
                </a:lnTo>
                <a:lnTo>
                  <a:pt x="650240" y="441960"/>
                </a:lnTo>
                <a:lnTo>
                  <a:pt x="650240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>
            <a:off x="4293898" y="3393440"/>
            <a:ext cx="486382" cy="2184400"/>
          </a:xfrm>
          <a:custGeom>
            <a:avLst/>
            <a:gdLst>
              <a:gd name="connsiteX0" fmla="*/ 248920 w 254000"/>
              <a:gd name="connsiteY0" fmla="*/ 0 h 1163320"/>
              <a:gd name="connsiteX1" fmla="*/ 0 w 254000"/>
              <a:gd name="connsiteY1" fmla="*/ 0 h 1163320"/>
              <a:gd name="connsiteX2" fmla="*/ 0 w 254000"/>
              <a:gd name="connsiteY2" fmla="*/ 1163320 h 1163320"/>
              <a:gd name="connsiteX3" fmla="*/ 254000 w 254000"/>
              <a:gd name="connsiteY3" fmla="*/ 1163320 h 1163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0" h="1163320">
                <a:moveTo>
                  <a:pt x="248920" y="0"/>
                </a:moveTo>
                <a:lnTo>
                  <a:pt x="0" y="0"/>
                </a:lnTo>
                <a:lnTo>
                  <a:pt x="0" y="1163320"/>
                </a:lnTo>
                <a:lnTo>
                  <a:pt x="254000" y="116332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/>
          <p:cNvSpPr txBox="1"/>
          <p:nvPr/>
        </p:nvSpPr>
        <p:spPr>
          <a:xfrm>
            <a:off x="4772215" y="5398254"/>
            <a:ext cx="2188800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2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iginalFunction</a:t>
            </a:r>
            <a:endParaRPr lang="en-US" sz="1200" b="1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20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772215" y="5090476"/>
            <a:ext cx="218880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iginalStub</a:t>
            </a:r>
            <a:endParaRPr lang="en-US" sz="1200" dirty="0" smtClean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4526280" y="4556760"/>
            <a:ext cx="259080" cy="1173480"/>
          </a:xfrm>
          <a:custGeom>
            <a:avLst/>
            <a:gdLst>
              <a:gd name="connsiteX0" fmla="*/ 228600 w 243840"/>
              <a:gd name="connsiteY0" fmla="*/ 1173480 h 1173480"/>
              <a:gd name="connsiteX1" fmla="*/ 0 w 243840"/>
              <a:gd name="connsiteY1" fmla="*/ 1173480 h 1173480"/>
              <a:gd name="connsiteX2" fmla="*/ 0 w 243840"/>
              <a:gd name="connsiteY2" fmla="*/ 0 h 1173480"/>
              <a:gd name="connsiteX3" fmla="*/ 243840 w 243840"/>
              <a:gd name="connsiteY3" fmla="*/ 0 h 1173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840" h="1173480">
                <a:moveTo>
                  <a:pt x="228600" y="1173480"/>
                </a:moveTo>
                <a:lnTo>
                  <a:pt x="0" y="1173480"/>
                </a:lnTo>
                <a:lnTo>
                  <a:pt x="0" y="0"/>
                </a:lnTo>
                <a:lnTo>
                  <a:pt x="24384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reeform 49"/>
          <p:cNvSpPr/>
          <p:nvPr/>
        </p:nvSpPr>
        <p:spPr>
          <a:xfrm>
            <a:off x="1976120" y="3901440"/>
            <a:ext cx="2788920" cy="1971040"/>
          </a:xfrm>
          <a:custGeom>
            <a:avLst/>
            <a:gdLst>
              <a:gd name="connsiteX0" fmla="*/ 0 w 2788920"/>
              <a:gd name="connsiteY0" fmla="*/ 0 h 1971040"/>
              <a:gd name="connsiteX1" fmla="*/ 0 w 2788920"/>
              <a:gd name="connsiteY1" fmla="*/ 1971040 h 1971040"/>
              <a:gd name="connsiteX2" fmla="*/ 2788920 w 2788920"/>
              <a:gd name="connsiteY2" fmla="*/ 1971040 h 197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88920" h="1971040">
                <a:moveTo>
                  <a:pt x="0" y="0"/>
                </a:moveTo>
                <a:lnTo>
                  <a:pt x="0" y="1971040"/>
                </a:lnTo>
                <a:lnTo>
                  <a:pt x="2788920" y="197104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reeform 51"/>
          <p:cNvSpPr/>
          <p:nvPr/>
        </p:nvSpPr>
        <p:spPr>
          <a:xfrm>
            <a:off x="3850640" y="3576320"/>
            <a:ext cx="2042160" cy="2621280"/>
          </a:xfrm>
          <a:custGeom>
            <a:avLst/>
            <a:gdLst>
              <a:gd name="connsiteX0" fmla="*/ 2042160 w 2042160"/>
              <a:gd name="connsiteY0" fmla="*/ 2468880 h 2621280"/>
              <a:gd name="connsiteX1" fmla="*/ 2042160 w 2042160"/>
              <a:gd name="connsiteY1" fmla="*/ 2621280 h 2621280"/>
              <a:gd name="connsiteX2" fmla="*/ 0 w 2042160"/>
              <a:gd name="connsiteY2" fmla="*/ 2621280 h 2621280"/>
              <a:gd name="connsiteX3" fmla="*/ 0 w 2042160"/>
              <a:gd name="connsiteY3" fmla="*/ 0 h 2621280"/>
              <a:gd name="connsiteX4" fmla="*/ 924560 w 2042160"/>
              <a:gd name="connsiteY4" fmla="*/ 0 h 262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2160" h="2621280">
                <a:moveTo>
                  <a:pt x="2042160" y="2468880"/>
                </a:moveTo>
                <a:lnTo>
                  <a:pt x="2042160" y="2621280"/>
                </a:lnTo>
                <a:lnTo>
                  <a:pt x="0" y="2621280"/>
                </a:lnTo>
                <a:lnTo>
                  <a:pt x="0" y="0"/>
                </a:lnTo>
                <a:lnTo>
                  <a:pt x="924560" y="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144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116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0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Text Placeholder 8">
            <a:hlinkClick r:id="rId11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60488" y="23622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ase study: Interacting with PowerPoint</a:t>
            </a:r>
          </a:p>
        </p:txBody>
      </p:sp>
      <p:sp>
        <p:nvSpPr>
          <p:cNvPr id="20" name="Text Placeholder 8">
            <a:hlinkClick r:id="rId12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60488" y="30734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unction Detouring</a:t>
            </a:r>
          </a:p>
        </p:txBody>
      </p:sp>
      <p:sp>
        <p:nvSpPr>
          <p:cNvPr id="11" name="Text Placeholder 8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60488" y="3784600"/>
            <a:ext cx="6423025" cy="7112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Detouring exercises</a:t>
            </a:r>
            <a:endParaRPr lang="en-US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80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793" y="5765196"/>
            <a:ext cx="2175933" cy="519711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015824" y="2958151"/>
            <a:ext cx="5112352" cy="1813872"/>
            <a:chOff x="725111" y="2624441"/>
            <a:chExt cx="6242853" cy="2214977"/>
          </a:xfrm>
        </p:grpSpPr>
        <p:sp>
          <p:nvSpPr>
            <p:cNvPr id="9" name="NwoRDmo_ibUa5U677jvDkqQ"/>
            <p:cNvSpPr txBox="1">
              <a:spLocks noChangeArrowheads="1"/>
            </p:cNvSpPr>
            <p:nvPr/>
          </p:nvSpPr>
          <p:spPr bwMode="auto">
            <a:xfrm>
              <a:off x="3941738" y="2624441"/>
              <a:ext cx="3026226" cy="22149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9450" tIns="44725" rIns="0" bIns="44725" anchor="b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6759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353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0294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7055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3820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0584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7347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4112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400" b="0" dirty="0" smtClean="0"/>
                <a:t>think-cell</a:t>
              </a:r>
              <a:br>
                <a:rPr lang="en-US" sz="1400" b="0" dirty="0" smtClean="0"/>
              </a:br>
              <a:r>
                <a:rPr lang="en-US" sz="1400" b="0" dirty="0" err="1" smtClean="0"/>
                <a:t>Chausseestraße</a:t>
              </a:r>
              <a:r>
                <a:rPr lang="en-US" sz="1400" b="0" dirty="0" smtClean="0"/>
                <a:t> </a:t>
              </a:r>
              <a:r>
                <a:rPr lang="en-US" sz="1400" b="0" dirty="0"/>
                <a:t>8/E</a:t>
              </a:r>
            </a:p>
            <a:p>
              <a:pPr eaLnBrk="1" hangingPunct="1"/>
              <a:r>
                <a:rPr lang="en-US" sz="1400" b="0" dirty="0"/>
                <a:t>10115 Berlin</a:t>
              </a:r>
              <a:br>
                <a:rPr lang="en-US" sz="1400" b="0" dirty="0"/>
              </a:br>
              <a:r>
                <a:rPr lang="en-US" sz="1400" b="0" dirty="0"/>
                <a:t>Germany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en-US" sz="1400" b="0" dirty="0"/>
                <a:t>Tel	+49-30-666473-10</a:t>
              </a:r>
            </a:p>
            <a:p>
              <a:pPr eaLnBrk="1" hangingPunct="1"/>
              <a:r>
                <a:rPr lang="en-US" sz="1400" b="0" dirty="0"/>
                <a:t>Fax	+49-30-666473-19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en-US" sz="1400" b="0" dirty="0">
                  <a:hlinkClick r:id="rId4"/>
                </a:rPr>
                <a:t>www.think-cell.com</a:t>
              </a:r>
              <a:endParaRPr lang="en-US" sz="1400" b="0" dirty="0"/>
            </a:p>
          </p:txBody>
        </p:sp>
        <p:pic>
          <p:nvPicPr>
            <p:cNvPr id="10" name="Picture 9" descr="office_3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>
              <a:fillRect/>
            </a:stretch>
          </p:blipFill>
          <p:spPr bwMode="auto">
            <a:xfrm>
              <a:off x="725111" y="2719246"/>
              <a:ext cx="2921430" cy="205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t"/>
          <a:lstStyle/>
          <a:p>
            <a:r>
              <a:rPr lang="en-US" b="1" dirty="0" smtClean="0"/>
              <a:t>hr@think-cell.com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49470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ase study: Interacting with PowerPoi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XML to customize the user interface</a:t>
            </a:r>
          </a:p>
          <a:p>
            <a:r>
              <a:rPr lang="en-US" dirty="0" smtClean="0"/>
              <a:t>APIs to access the PowerPoint object model</a:t>
            </a:r>
          </a:p>
          <a:p>
            <a:r>
              <a:rPr lang="en-US" dirty="0" smtClean="0"/>
              <a:t>Event notification mechanism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044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l="3000" t="3000" r="7000" b="1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878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6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/>
        </p:nvGrpSpPr>
        <p:grpSpPr>
          <a:xfrm>
            <a:off x="3843250" y="4019264"/>
            <a:ext cx="4107874" cy="756413"/>
            <a:chOff x="3843250" y="5057646"/>
            <a:chExt cx="4107874" cy="756413"/>
          </a:xfrm>
        </p:grpSpPr>
        <p:sp>
          <p:nvSpPr>
            <p:cNvPr id="49" name="Rounded Rectangular Callout 48"/>
            <p:cNvSpPr/>
            <p:nvPr/>
          </p:nvSpPr>
          <p:spPr>
            <a:xfrm>
              <a:off x="5654040" y="5057646"/>
              <a:ext cx="2297084" cy="756413"/>
            </a:xfrm>
            <a:prstGeom prst="wedgeRoundRectCallout">
              <a:avLst>
                <a:gd name="adj1" fmla="val 19865"/>
                <a:gd name="adj2" fmla="val -67933"/>
                <a:gd name="adj3" fmla="val 16667"/>
              </a:avLst>
            </a:prstGeom>
            <a:ln w="12700"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8" name="Rounded Rectangular Callout 47"/>
            <p:cNvSpPr/>
            <p:nvPr/>
          </p:nvSpPr>
          <p:spPr>
            <a:xfrm>
              <a:off x="3843251" y="5057646"/>
              <a:ext cx="2297084" cy="756413"/>
            </a:xfrm>
            <a:prstGeom prst="wedgeRoundRectCallout">
              <a:avLst>
                <a:gd name="adj1" fmla="val -21269"/>
                <a:gd name="adj2" fmla="val -65918"/>
                <a:gd name="adj3" fmla="val 16667"/>
              </a:avLst>
            </a:prstGeom>
            <a:ln w="12700"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0" name="Rounded Rectangular Callout 49"/>
            <p:cNvSpPr/>
            <p:nvPr/>
          </p:nvSpPr>
          <p:spPr>
            <a:xfrm>
              <a:off x="3843250" y="5057646"/>
              <a:ext cx="4107873" cy="756413"/>
            </a:xfrm>
            <a:prstGeom prst="wedgeRoundRectCallout">
              <a:avLst>
                <a:gd name="adj1" fmla="val -21269"/>
                <a:gd name="adj2" fmla="val -46778"/>
                <a:gd name="adj3" fmla="val 16667"/>
              </a:avLst>
            </a:prstGeom>
            <a:ln w="12700"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owerPoint calls our Bold button handler and we can set the other labels to Bold</a:t>
              </a:r>
              <a:endParaRPr lang="en-US" dirty="0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1192875" y="4019099"/>
            <a:ext cx="4107874" cy="756413"/>
            <a:chOff x="3843250" y="5057646"/>
            <a:chExt cx="4107874" cy="756413"/>
          </a:xfrm>
        </p:grpSpPr>
        <p:sp>
          <p:nvSpPr>
            <p:cNvPr id="54" name="Rounded Rectangular Callout 53"/>
            <p:cNvSpPr/>
            <p:nvPr/>
          </p:nvSpPr>
          <p:spPr>
            <a:xfrm>
              <a:off x="5654040" y="5057646"/>
              <a:ext cx="2297084" cy="756413"/>
            </a:xfrm>
            <a:prstGeom prst="wedgeRoundRectCallout">
              <a:avLst>
                <a:gd name="adj1" fmla="val 19865"/>
                <a:gd name="adj2" fmla="val -67933"/>
                <a:gd name="adj3" fmla="val 16667"/>
              </a:avLst>
            </a:prstGeom>
            <a:ln w="12700"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Rounded Rectangular Callout 54"/>
            <p:cNvSpPr/>
            <p:nvPr/>
          </p:nvSpPr>
          <p:spPr>
            <a:xfrm>
              <a:off x="3843251" y="5057646"/>
              <a:ext cx="2297084" cy="756413"/>
            </a:xfrm>
            <a:prstGeom prst="wedgeRoundRectCallout">
              <a:avLst>
                <a:gd name="adj1" fmla="val -21269"/>
                <a:gd name="adj2" fmla="val -65918"/>
                <a:gd name="adj3" fmla="val 16667"/>
              </a:avLst>
            </a:prstGeom>
            <a:ln w="12700"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Rounded Rectangular Callout 55"/>
            <p:cNvSpPr/>
            <p:nvPr/>
          </p:nvSpPr>
          <p:spPr>
            <a:xfrm>
              <a:off x="3843250" y="5057646"/>
              <a:ext cx="4107873" cy="756413"/>
            </a:xfrm>
            <a:prstGeom prst="wedgeRoundRectCallout">
              <a:avLst>
                <a:gd name="adj1" fmla="val -21269"/>
                <a:gd name="adj2" fmla="val -46778"/>
                <a:gd name="adj3" fmla="val 16667"/>
              </a:avLst>
            </a:prstGeom>
            <a:ln w="12700"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owerPoint calls our Italic button handler and we can set the other labels to Italic</a:t>
              </a:r>
              <a:endParaRPr lang="en-US" dirty="0"/>
            </a:p>
          </p:txBody>
        </p:sp>
      </p:grpSp>
      <p:sp>
        <p:nvSpPr>
          <p:cNvPr id="47" name="Rounded Rectangular Callout 46"/>
          <p:cNvSpPr/>
          <p:nvPr/>
        </p:nvSpPr>
        <p:spPr>
          <a:xfrm>
            <a:off x="1192876" y="4019265"/>
            <a:ext cx="2297084" cy="756413"/>
          </a:xfrm>
          <a:prstGeom prst="wedgeRoundRectCallout">
            <a:avLst>
              <a:gd name="adj1" fmla="val -21269"/>
              <a:gd name="adj2" fmla="val -65918"/>
              <a:gd name="adj3" fmla="val 16667"/>
            </a:avLst>
          </a:prstGeom>
          <a:ln w="12700"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er selects label and clicks on Bold button</a:t>
            </a:r>
            <a:endParaRPr lang="en-US" dirty="0"/>
          </a:p>
        </p:txBody>
      </p:sp>
      <p:sp>
        <p:nvSpPr>
          <p:cNvPr id="62" name="Rounded Rectangular Callout 61"/>
          <p:cNvSpPr/>
          <p:nvPr/>
        </p:nvSpPr>
        <p:spPr>
          <a:xfrm>
            <a:off x="1192875" y="4014855"/>
            <a:ext cx="4107873" cy="760657"/>
          </a:xfrm>
          <a:prstGeom prst="wedgeRoundRectCallout">
            <a:avLst>
              <a:gd name="adj1" fmla="val -21269"/>
              <a:gd name="adj2" fmla="val -46778"/>
              <a:gd name="adj3" fmla="val 16667"/>
            </a:avLst>
          </a:prstGeom>
          <a:ln w="12700"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notification from PowerPoint for drop-down menu ev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4</a:t>
            </a:fld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1192876" y="1186658"/>
            <a:ext cx="1457498" cy="20414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843251" y="1186659"/>
            <a:ext cx="1457498" cy="20414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493626" y="1186659"/>
            <a:ext cx="1457498" cy="20414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192876" y="3454583"/>
            <a:ext cx="1457498" cy="338554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iagram 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93626" y="3454583"/>
            <a:ext cx="1457498" cy="338554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iagram C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843251" y="3454583"/>
            <a:ext cx="1457498" cy="338554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iagram B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Diagram 32"/>
          <p:cNvGraphicFramePr/>
          <p:nvPr>
            <p:extLst>
              <p:ext uri="{D42A27DB-BD31-4B8C-83A1-F6EECF244321}">
                <p14:modId xmlns:p14="http://schemas.microsoft.com/office/powerpoint/2010/main" val="2172367660"/>
              </p:ext>
            </p:extLst>
          </p:nvPr>
        </p:nvGraphicFramePr>
        <p:xfrm>
          <a:off x="1186988" y="1742918"/>
          <a:ext cx="1457498" cy="929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3918644568"/>
              </p:ext>
            </p:extLst>
          </p:nvPr>
        </p:nvGraphicFramePr>
        <p:xfrm>
          <a:off x="3836670" y="1744418"/>
          <a:ext cx="1457498" cy="92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35" name="Diagram 34"/>
          <p:cNvGraphicFramePr/>
          <p:nvPr>
            <p:extLst>
              <p:ext uri="{D42A27DB-BD31-4B8C-83A1-F6EECF244321}">
                <p14:modId xmlns:p14="http://schemas.microsoft.com/office/powerpoint/2010/main" val="403391361"/>
              </p:ext>
            </p:extLst>
          </p:nvPr>
        </p:nvGraphicFramePr>
        <p:xfrm>
          <a:off x="6652260" y="1186659"/>
          <a:ext cx="1135380" cy="2041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1192876" y="3454418"/>
            <a:ext cx="145749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A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493626" y="3454418"/>
            <a:ext cx="145749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C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843251" y="3454418"/>
            <a:ext cx="145749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B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843251" y="3454418"/>
            <a:ext cx="145749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B</a:t>
            </a:r>
            <a:endParaRPr lang="en-US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92876" y="3454418"/>
            <a:ext cx="145749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A</a:t>
            </a:r>
            <a:endParaRPr lang="en-US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93626" y="3454418"/>
            <a:ext cx="145749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C</a:t>
            </a:r>
            <a:endParaRPr lang="en-US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93626" y="3449843"/>
            <a:ext cx="1457498" cy="36957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tIns="28800" bIns="32400" rtlCol="0">
            <a:spAutoFit/>
          </a:bodyPr>
          <a:lstStyle/>
          <a:p>
            <a:pPr algn="ctr"/>
            <a:r>
              <a:rPr lang="en-US" sz="2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Diagram C</a:t>
            </a:r>
            <a:endParaRPr lang="en-US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ounded Rectangular Callout 51"/>
          <p:cNvSpPr/>
          <p:nvPr/>
        </p:nvSpPr>
        <p:spPr>
          <a:xfrm>
            <a:off x="5654039" y="4019264"/>
            <a:ext cx="2297084" cy="756413"/>
          </a:xfrm>
          <a:prstGeom prst="wedgeRoundRectCallout">
            <a:avLst>
              <a:gd name="adj1" fmla="val 19864"/>
              <a:gd name="adj2" fmla="val -63903"/>
              <a:gd name="adj3" fmla="val 16667"/>
            </a:avLst>
          </a:prstGeom>
          <a:ln w="12700"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er selects label and clicks on Italic button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107" y="215585"/>
            <a:ext cx="274344" cy="29720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107" y="215585"/>
            <a:ext cx="274344" cy="30482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628" y="208264"/>
            <a:ext cx="251482" cy="3200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594" y="208093"/>
            <a:ext cx="228620" cy="2362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099" y="215585"/>
            <a:ext cx="480102" cy="47095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391" y="205883"/>
            <a:ext cx="495343" cy="251482"/>
          </a:xfrm>
          <a:prstGeom prst="rect">
            <a:avLst/>
          </a:prstGeom>
        </p:spPr>
      </p:pic>
      <p:sp>
        <p:nvSpPr>
          <p:cNvPr id="57" name="Rounded Rectangular Callout 56"/>
          <p:cNvSpPr/>
          <p:nvPr/>
        </p:nvSpPr>
        <p:spPr>
          <a:xfrm>
            <a:off x="5654039" y="4014855"/>
            <a:ext cx="2297084" cy="1045630"/>
          </a:xfrm>
          <a:prstGeom prst="wedgeRoundRectCallout">
            <a:avLst>
              <a:gd name="adj1" fmla="val 20658"/>
              <a:gd name="adj2" fmla="val -61778"/>
              <a:gd name="adj3" fmla="val 16667"/>
            </a:avLst>
          </a:prstGeom>
          <a:ln w="12700"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er selects new font size from drop-down men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53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62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52" grpId="0" animBg="1"/>
      <p:bldP spid="52" grpId="1" animBg="1"/>
      <p:bldP spid="57" grpId="0" animBg="1"/>
      <p:bldP spid="57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0939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552580" y="1947296"/>
            <a:ext cx="3369180" cy="395566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endParaRPr lang="en-US" sz="105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study: Interacting with PowerPoi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5</a:t>
            </a:fld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4596260" y="4902278"/>
            <a:ext cx="2576700" cy="57708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run original function’s code</a:t>
            </a:r>
          </a:p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05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ntSizeMenuHandler</a:t>
            </a:r>
          </a:p>
          <a:p>
            <a:endParaRPr lang="en-US" sz="105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596260" y="4625279"/>
            <a:ext cx="2576700" cy="276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NewOnFontSizeMenuClick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96260" y="3891381"/>
            <a:ext cx="2576700" cy="4154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endParaRPr lang="en-US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596260" y="3614382"/>
            <a:ext cx="2576700" cy="276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FontSizeMenuHandler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596260" y="2880485"/>
            <a:ext cx="2576700" cy="4154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endParaRPr lang="en-US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596260" y="2603486"/>
            <a:ext cx="2576700" cy="276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ldButtonHandler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33580" y="4902278"/>
            <a:ext cx="2576700" cy="57708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05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rocess font size click</a:t>
            </a:r>
          </a:p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33580" y="4625279"/>
            <a:ext cx="2576700" cy="276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nFontSizeMenuClick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33580" y="2877021"/>
            <a:ext cx="2576700" cy="73866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  <a:p>
            <a:r>
              <a:rPr lang="en-US" sz="1050" i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rocess bold click</a:t>
            </a:r>
          </a:p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call </a:t>
            </a:r>
            <a:r>
              <a:rPr lang="en-US" sz="1050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BoldButtonHandler</a:t>
            </a:r>
            <a:endParaRPr lang="en-US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50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933580" y="2600022"/>
            <a:ext cx="2576700" cy="2769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latin typeface="Courier New" panose="02070309020205020404" pitchFamily="49" charset="0"/>
                <a:cs typeface="Courier New" panose="02070309020205020404" pitchFamily="49" charset="0"/>
              </a:rPr>
              <a:t>OnBoldButtonClick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52580" y="1639519"/>
            <a:ext cx="3369180" cy="307777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Courier New" panose="02070309020205020404" pitchFamily="49" charset="0"/>
                <a:cs typeface="Courier New" panose="02070309020205020404" pitchFamily="49" charset="0"/>
              </a:rPr>
              <a:t>POWERPOINT</a:t>
            </a:r>
            <a:endParaRPr lang="en-US" sz="1200" dirty="0" smtClean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3515360" y="5013960"/>
            <a:ext cx="1087120" cy="0"/>
          </a:xfrm>
          <a:custGeom>
            <a:avLst/>
            <a:gdLst>
              <a:gd name="connsiteX0" fmla="*/ 0 w 1087120"/>
              <a:gd name="connsiteY0" fmla="*/ 0 h 0"/>
              <a:gd name="connsiteX1" fmla="*/ 1087120 w 108712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7120">
                <a:moveTo>
                  <a:pt x="0" y="0"/>
                </a:moveTo>
                <a:lnTo>
                  <a:pt x="108712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/>
          <p:cNvSpPr/>
          <p:nvPr/>
        </p:nvSpPr>
        <p:spPr>
          <a:xfrm>
            <a:off x="3510280" y="3302000"/>
            <a:ext cx="2260600" cy="187960"/>
          </a:xfrm>
          <a:custGeom>
            <a:avLst/>
            <a:gdLst>
              <a:gd name="connsiteX0" fmla="*/ 2260600 w 2260600"/>
              <a:gd name="connsiteY0" fmla="*/ 0 h 187960"/>
              <a:gd name="connsiteX1" fmla="*/ 2260600 w 2260600"/>
              <a:gd name="connsiteY1" fmla="*/ 187960 h 187960"/>
              <a:gd name="connsiteX2" fmla="*/ 0 w 2260600"/>
              <a:gd name="connsiteY2" fmla="*/ 187960 h 187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60600" h="187960">
                <a:moveTo>
                  <a:pt x="2260600" y="0"/>
                </a:moveTo>
                <a:lnTo>
                  <a:pt x="2260600" y="187960"/>
                </a:lnTo>
                <a:lnTo>
                  <a:pt x="0" y="18796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3510280" y="2981960"/>
            <a:ext cx="1097280" cy="314960"/>
          </a:xfrm>
          <a:custGeom>
            <a:avLst/>
            <a:gdLst>
              <a:gd name="connsiteX0" fmla="*/ 0 w 1097280"/>
              <a:gd name="connsiteY0" fmla="*/ 314960 h 314960"/>
              <a:gd name="connsiteX1" fmla="*/ 203200 w 1097280"/>
              <a:gd name="connsiteY1" fmla="*/ 314960 h 314960"/>
              <a:gd name="connsiteX2" fmla="*/ 203200 w 1097280"/>
              <a:gd name="connsiteY2" fmla="*/ 0 h 314960"/>
              <a:gd name="connsiteX3" fmla="*/ 1097280 w 1097280"/>
              <a:gd name="connsiteY3" fmla="*/ 0 h 314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7280" h="314960">
                <a:moveTo>
                  <a:pt x="0" y="314960"/>
                </a:moveTo>
                <a:lnTo>
                  <a:pt x="203200" y="314960"/>
                </a:lnTo>
                <a:lnTo>
                  <a:pt x="203200" y="0"/>
                </a:lnTo>
                <a:lnTo>
                  <a:pt x="109728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>
            <a:off x="4307840" y="3997960"/>
            <a:ext cx="294640" cy="1178560"/>
          </a:xfrm>
          <a:custGeom>
            <a:avLst/>
            <a:gdLst>
              <a:gd name="connsiteX0" fmla="*/ 294640 w 294640"/>
              <a:gd name="connsiteY0" fmla="*/ 1178560 h 1178560"/>
              <a:gd name="connsiteX1" fmla="*/ 0 w 294640"/>
              <a:gd name="connsiteY1" fmla="*/ 1178560 h 1178560"/>
              <a:gd name="connsiteX2" fmla="*/ 0 w 294640"/>
              <a:gd name="connsiteY2" fmla="*/ 0 h 1178560"/>
              <a:gd name="connsiteX3" fmla="*/ 294640 w 294640"/>
              <a:gd name="connsiteY3" fmla="*/ 0 h 1178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40" h="1178560">
                <a:moveTo>
                  <a:pt x="294640" y="1178560"/>
                </a:moveTo>
                <a:lnTo>
                  <a:pt x="0" y="1178560"/>
                </a:lnTo>
                <a:lnTo>
                  <a:pt x="0" y="0"/>
                </a:lnTo>
                <a:lnTo>
                  <a:pt x="294640" y="0"/>
                </a:lnTo>
              </a:path>
            </a:pathLst>
          </a:custGeom>
          <a:noFill/>
          <a:ln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5791200" y="4312920"/>
            <a:ext cx="1544320" cy="1097280"/>
          </a:xfrm>
          <a:custGeom>
            <a:avLst/>
            <a:gdLst>
              <a:gd name="connsiteX0" fmla="*/ 0 w 1544320"/>
              <a:gd name="connsiteY0" fmla="*/ 0 h 1097280"/>
              <a:gd name="connsiteX1" fmla="*/ 0 w 1544320"/>
              <a:gd name="connsiteY1" fmla="*/ 147320 h 1097280"/>
              <a:gd name="connsiteX2" fmla="*/ 1544320 w 1544320"/>
              <a:gd name="connsiteY2" fmla="*/ 147320 h 1097280"/>
              <a:gd name="connsiteX3" fmla="*/ 1544320 w 1544320"/>
              <a:gd name="connsiteY3" fmla="*/ 1097280 h 1097280"/>
              <a:gd name="connsiteX4" fmla="*/ 1381760 w 1544320"/>
              <a:gd name="connsiteY4" fmla="*/ 1097280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4320" h="1097280">
                <a:moveTo>
                  <a:pt x="0" y="0"/>
                </a:moveTo>
                <a:lnTo>
                  <a:pt x="0" y="147320"/>
                </a:lnTo>
                <a:lnTo>
                  <a:pt x="1544320" y="147320"/>
                </a:lnTo>
                <a:lnTo>
                  <a:pt x="1544320" y="1097280"/>
                </a:lnTo>
                <a:lnTo>
                  <a:pt x="1381760" y="109728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/>
          <p:cNvSpPr txBox="1"/>
          <p:nvPr/>
        </p:nvSpPr>
        <p:spPr>
          <a:xfrm>
            <a:off x="933580" y="4902278"/>
            <a:ext cx="2576700" cy="25391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5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jmp</a:t>
            </a:r>
            <a:r>
              <a:rPr lang="en-US" sz="1050" b="1" dirty="0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50" b="1" dirty="0" err="1" smtClean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wOnFontSizeMenuClick</a:t>
            </a:r>
            <a:endParaRPr lang="en-US" sz="1050" b="1" dirty="0">
              <a:solidFill>
                <a:srgbClr val="FF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cxnSp>
        <p:nvCxnSpPr>
          <p:cNvPr id="18" name="Straight Arrow Connector 17"/>
          <p:cNvCxnSpPr>
            <a:endCxn id="10" idx="3"/>
          </p:cNvCxnSpPr>
          <p:nvPr/>
        </p:nvCxnSpPr>
        <p:spPr>
          <a:xfrm>
            <a:off x="3921760" y="2981960"/>
            <a:ext cx="685800" cy="0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>
          <a:xfrm>
            <a:off x="3911600" y="3291840"/>
            <a:ext cx="1859280" cy="198120"/>
          </a:xfrm>
          <a:custGeom>
            <a:avLst/>
            <a:gdLst>
              <a:gd name="connsiteX0" fmla="*/ 1859280 w 1859280"/>
              <a:gd name="connsiteY0" fmla="*/ 0 h 198120"/>
              <a:gd name="connsiteX1" fmla="*/ 1859280 w 1859280"/>
              <a:gd name="connsiteY1" fmla="*/ 198120 h 198120"/>
              <a:gd name="connsiteX2" fmla="*/ 0 w 1859280"/>
              <a:gd name="connsiteY2" fmla="*/ 198120 h 19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59280" h="198120">
                <a:moveTo>
                  <a:pt x="1859280" y="0"/>
                </a:moveTo>
                <a:lnTo>
                  <a:pt x="1859280" y="198120"/>
                </a:lnTo>
                <a:lnTo>
                  <a:pt x="0" y="198120"/>
                </a:lnTo>
              </a:path>
            </a:pathLst>
          </a:custGeom>
          <a:noFill/>
          <a:ln>
            <a:solidFill>
              <a:schemeClr val="accent6"/>
            </a:solidFill>
            <a:prstDash val="dash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084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6" grpId="0" animBg="1"/>
      <p:bldP spid="36" grpId="1" animBg="1"/>
      <p:bldP spid="37" grpId="0" animBg="1"/>
      <p:bldP spid="38" grpId="0" animBg="1"/>
      <p:bldP spid="39" grpId="0" animBg="1"/>
      <p:bldP spid="8" grpId="0" animBg="1"/>
      <p:bldP spid="9" grpId="0" animBg="1"/>
      <p:bldP spid="10" grpId="0" animBg="1"/>
      <p:bldP spid="11" grpId="0" animBg="1"/>
      <p:bldP spid="12" grpId="0" animBg="1"/>
      <p:bldP spid="50" grpId="0" animBg="1"/>
      <p:bldP spid="20" grpId="0" animBg="1"/>
      <p:bldP spid="20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233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Text Placeholder 8">
            <a:hlinkClick r:id="rId14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60488" y="14478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ase study: Interacting with PowerPoint</a:t>
            </a:r>
          </a:p>
        </p:txBody>
      </p:sp>
      <p:sp>
        <p:nvSpPr>
          <p:cNvPr id="47" name="Text Placeholder 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60488" y="2159000"/>
            <a:ext cx="6423025" cy="712788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42875" tIns="142875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unction Detouring</a:t>
            </a:r>
          </a:p>
        </p:txBody>
      </p:sp>
      <p:sp>
        <p:nvSpPr>
          <p:cNvPr id="52" name="Text Placeholder 8">
            <a:hlinkClick r:id="rId15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60488" y="2871788"/>
            <a:ext cx="6423025" cy="6080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0650" rIns="0" bIns="1206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requently </a:t>
            </a:r>
            <a:r>
              <a:rPr lang="en-US" smtClean="0"/>
              <a:t>asked questions</a:t>
            </a:r>
            <a:endParaRPr lang="en-US" dirty="0"/>
          </a:p>
        </p:txBody>
      </p:sp>
      <p:sp>
        <p:nvSpPr>
          <p:cNvPr id="53" name="Text Placeholder 8">
            <a:hlinkClick r:id="rId16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60488" y="3479800"/>
            <a:ext cx="6423025" cy="6096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inding the target function</a:t>
            </a:r>
            <a:endParaRPr lang="en-US" dirty="0"/>
          </a:p>
        </p:txBody>
      </p:sp>
      <p:sp>
        <p:nvSpPr>
          <p:cNvPr id="62" name="Text Placeholder 8">
            <a:hlinkClick r:id="rId17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60488" y="4089400"/>
            <a:ext cx="6423025" cy="6096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unction detouring framework</a:t>
            </a:r>
            <a:endParaRPr lang="en-US" dirty="0"/>
          </a:p>
        </p:txBody>
      </p:sp>
      <p:sp>
        <p:nvSpPr>
          <p:cNvPr id="44" name="Text Placeholder 8">
            <a:hlinkClick r:id="rId18" action="ppaction://hlinksldjump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60488" y="46990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Detouring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46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237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 Placeholder 8">
            <a:hlinkClick r:id="rId14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60488" y="14478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ase study: Interacting with PowerPoint</a:t>
            </a:r>
          </a:p>
        </p:txBody>
      </p:sp>
      <p:sp>
        <p:nvSpPr>
          <p:cNvPr id="50" name="Text Placeholder 8">
            <a:hlinkClick r:id="rId15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60488" y="2159000"/>
            <a:ext cx="6423025" cy="13208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42875" tIns="142875" rIns="0" bIns="7508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unction Detouring</a:t>
            </a:r>
          </a:p>
        </p:txBody>
      </p:sp>
      <p:sp>
        <p:nvSpPr>
          <p:cNvPr id="10" name="Text Placeholder 8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60488" y="2871788"/>
            <a:ext cx="6423025" cy="6080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0650" rIns="0" bIns="1206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requently asked questions</a:t>
            </a:r>
            <a:endParaRPr lang="en-US" b="1" dirty="0"/>
          </a:p>
        </p:txBody>
      </p:sp>
      <p:sp>
        <p:nvSpPr>
          <p:cNvPr id="11" name="Text Placeholder 8">
            <a:hlinkClick r:id="rId16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60488" y="3479800"/>
            <a:ext cx="6423025" cy="6096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inding the target function</a:t>
            </a:r>
            <a:endParaRPr lang="en-US" dirty="0"/>
          </a:p>
        </p:txBody>
      </p:sp>
      <p:sp>
        <p:nvSpPr>
          <p:cNvPr id="60" name="Text Placeholder 8">
            <a:hlinkClick r:id="rId17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60488" y="4089400"/>
            <a:ext cx="6423025" cy="6096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unction </a:t>
            </a:r>
            <a:r>
              <a:rPr lang="en-US" smtClean="0"/>
              <a:t>detouring framework</a:t>
            </a:r>
            <a:endParaRPr lang="en-US" dirty="0"/>
          </a:p>
        </p:txBody>
      </p:sp>
      <p:sp>
        <p:nvSpPr>
          <p:cNvPr id="47" name="Text Placeholder 8">
            <a:hlinkClick r:id="rId18" action="ppaction://hlinksldjump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60488" y="46990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Detouring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38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requently asked 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s function detouring legal?</a:t>
            </a:r>
          </a:p>
          <a:p>
            <a:pPr lvl="1"/>
            <a:r>
              <a:rPr lang="en-US" dirty="0" smtClean="0"/>
              <a:t>Digital Millennium Copyright Act</a:t>
            </a:r>
          </a:p>
          <a:p>
            <a:pPr lvl="1"/>
            <a:r>
              <a:rPr lang="en-US" dirty="0" smtClean="0"/>
              <a:t>Electronic Frontier Foundation (www.eff.org)</a:t>
            </a:r>
          </a:p>
          <a:p>
            <a:r>
              <a:rPr lang="en-US" dirty="0" smtClean="0"/>
              <a:t>Does it really work?</a:t>
            </a:r>
          </a:p>
          <a:p>
            <a:r>
              <a:rPr lang="en-US" dirty="0" smtClean="0"/>
              <a:t>It’s just really for cracking, isn’t it?</a:t>
            </a:r>
          </a:p>
          <a:p>
            <a:pPr lvl="1"/>
            <a:r>
              <a:rPr lang="en-US" dirty="0" smtClean="0"/>
              <a:t>Function monitoring</a:t>
            </a:r>
          </a:p>
          <a:p>
            <a:pPr lvl="1"/>
            <a:r>
              <a:rPr lang="en-US" dirty="0" smtClean="0"/>
              <a:t>Bug fixing</a:t>
            </a:r>
          </a:p>
          <a:p>
            <a:pPr lvl="1"/>
            <a:r>
              <a:rPr lang="en-US" dirty="0" smtClean="0"/>
              <a:t>Undocumented APIs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954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319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5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Text Placeholder 8">
            <a:hlinkClick r:id="rId14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60488" y="14478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ase study: Interacting with PowerPoint</a:t>
            </a:r>
          </a:p>
        </p:txBody>
      </p:sp>
      <p:sp>
        <p:nvSpPr>
          <p:cNvPr id="48" name="Text Placeholder 8">
            <a:hlinkClick r:id="rId15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60488" y="2159000"/>
            <a:ext cx="6423025" cy="7127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2875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unction Detouring</a:t>
            </a:r>
          </a:p>
        </p:txBody>
      </p:sp>
      <p:sp>
        <p:nvSpPr>
          <p:cNvPr id="61" name="Text Placeholder 8">
            <a:hlinkClick r:id="rId16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60488" y="2871788"/>
            <a:ext cx="6423025" cy="60801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0650" rIns="0" bIns="1206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requently </a:t>
            </a:r>
            <a:r>
              <a:rPr lang="en-US" smtClean="0"/>
              <a:t>asked questions</a:t>
            </a:r>
            <a:endParaRPr lang="en-US" dirty="0"/>
          </a:p>
        </p:txBody>
      </p:sp>
      <p:sp>
        <p:nvSpPr>
          <p:cNvPr id="62" name="Text Placeholder 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60488" y="3479800"/>
            <a:ext cx="6423025" cy="6096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b="1" dirty="0" smtClean="0"/>
              <a:t>Finding the target function</a:t>
            </a:r>
            <a:endParaRPr lang="en-US" b="1" dirty="0"/>
          </a:p>
        </p:txBody>
      </p:sp>
      <p:sp>
        <p:nvSpPr>
          <p:cNvPr id="58" name="Text Placeholder 8">
            <a:hlinkClick r:id="rId17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60488" y="4089400"/>
            <a:ext cx="6423025" cy="6096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22238" rIns="0" bIns="1222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 smtClean="0"/>
              <a:t>Function </a:t>
            </a:r>
            <a:r>
              <a:rPr lang="en-US" smtClean="0"/>
              <a:t>detouring framework</a:t>
            </a:r>
            <a:endParaRPr lang="en-US" dirty="0"/>
          </a:p>
        </p:txBody>
      </p:sp>
      <p:sp>
        <p:nvSpPr>
          <p:cNvPr id="45" name="Text Placeholder 8">
            <a:hlinkClick r:id="rId18" action="ppaction://hlinksldjump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60488" y="4699000"/>
            <a:ext cx="6423025" cy="711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vert="horz" wrap="squar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Detouring </a:t>
            </a:r>
            <a:r>
              <a:rPr lang="en-US" dirty="0" smtClean="0"/>
              <a:t>exercis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52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2200&quot;&gt;&lt;version val=&quot;2405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0&quot;&gt;&lt;m_msothmcolidx val=&quot;0&quot;/&gt;&lt;m_rgb r=&quot;8C&quot; g=&quot;CB&quot; b=&quot;18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39&quot; g=&quot;D0&quot; b=&quot;1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myhNLT0qVoJTVXL.v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HZx1yB3k2lv93B8EGh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MSeMqzhEqALVyzmABb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fE7knIzkymvxPLT7sg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myhNLT0qVoJTVXL.v9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Rh7Agm4E2YBN_P7Nf9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h4EuxPjEufzTLp4CTnW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4CDiJw7UGn2UUluqoR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3to6ob70GEveD_uCF.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cqTEkm6Uix98HPCFK7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WAMlQAVUSzVYUoViy.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myhNLT0qVoJTVXL.v9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OLoyUWYUuWrBPCTVCl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sG9Yf4qEauXtbDlzOF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058uJgwkC.nqhPSfiv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IX1VzeJE2r8caDjYN8l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LGFz4oaE6YpOiOX9fN7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6vGvvg_USJH6XVXGNs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myhNLT0qVoJTVXL.v9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XYNqAR5UOqC28ZY632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0RBxWq6EiNQJGJBOjAb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2IJb5yiUS6xIcVgqO4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RKC9TuEOWFxT5vZxW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pXjrMW8U6Z7d9XBG3j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dFJUFveECEoG1SH5zi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myhNLT0qVoJTVXL.v9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8g_czsdUeZzAi9rjP0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GwQcDxQ0CZQPfFGwVO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KWDeHzqk67hfDCCU7a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xrHEkI4UiEfliT3CsA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nS3RjQPUijHkikKXnT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RTHk5W60WSkuddqVNz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ZmyhNLT0qVoJTVXL.v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8g_czsdUeZzAi9rjP0A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SzIMdQdEqjF5ibSarq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99WJ.zbUCiu1xdlf5g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99</Words>
  <Application>Microsoft Office PowerPoint</Application>
  <PresentationFormat>On-screen Show (4:3)</PresentationFormat>
  <Paragraphs>424</Paragraphs>
  <Slides>23</Slides>
  <Notes>23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FangSong</vt:lpstr>
      <vt:lpstr>Arial</vt:lpstr>
      <vt:lpstr>Calibri</vt:lpstr>
      <vt:lpstr>Calibri Light</vt:lpstr>
      <vt:lpstr>Courier New</vt:lpstr>
      <vt:lpstr>Segoe UI</vt:lpstr>
      <vt:lpstr>Office Theme</vt:lpstr>
      <vt:lpstr>Custom Design</vt:lpstr>
      <vt:lpstr>2_Office Theme</vt:lpstr>
      <vt:lpstr>1_Custom Design</vt:lpstr>
      <vt:lpstr>think-cell Slide</vt:lpstr>
      <vt:lpstr>Industrial Strength Software Hacking</vt:lpstr>
      <vt:lpstr>Workshop Outline</vt:lpstr>
      <vt:lpstr>Case study: Interacting with PowerPoint</vt:lpstr>
      <vt:lpstr>PowerPoint Presentation</vt:lpstr>
      <vt:lpstr>Case study: Interacting with PowerPoint</vt:lpstr>
      <vt:lpstr>Workshop Outline</vt:lpstr>
      <vt:lpstr>Workshop Outline</vt:lpstr>
      <vt:lpstr>Frequently asked questions</vt:lpstr>
      <vt:lpstr>Workshop Outline</vt:lpstr>
      <vt:lpstr>Finding the target function</vt:lpstr>
      <vt:lpstr>Finding the target function</vt:lpstr>
      <vt:lpstr>Finding the target function</vt:lpstr>
      <vt:lpstr>Finding the target function</vt:lpstr>
      <vt:lpstr>Finding the target function</vt:lpstr>
      <vt:lpstr>Finding the target function</vt:lpstr>
      <vt:lpstr>Workshop Outline</vt:lpstr>
      <vt:lpstr>Function detouring framework</vt:lpstr>
      <vt:lpstr>Function detouring framework</vt:lpstr>
      <vt:lpstr>Function detouring framework</vt:lpstr>
      <vt:lpstr>Function detouring framework</vt:lpstr>
      <vt:lpstr>Function detouring framework</vt:lpstr>
      <vt:lpstr>Workshop Outline</vt:lpstr>
      <vt:lpstr>hr@think-cell.com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2-10T16:54:51Z</dcterms:created>
  <dcterms:modified xsi:type="dcterms:W3CDTF">2015-12-10T16:55:10Z</dcterms:modified>
</cp:coreProperties>
</file>